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627" r:id="rId2"/>
    <p:sldId id="629" r:id="rId3"/>
    <p:sldId id="630" r:id="rId4"/>
    <p:sldId id="631" r:id="rId5"/>
    <p:sldId id="632" r:id="rId6"/>
    <p:sldId id="633" r:id="rId7"/>
    <p:sldId id="625" r:id="rId8"/>
    <p:sldId id="621" r:id="rId9"/>
    <p:sldId id="635" r:id="rId10"/>
    <p:sldId id="619" r:id="rId11"/>
    <p:sldId id="620" r:id="rId12"/>
    <p:sldId id="623" r:id="rId13"/>
    <p:sldId id="634" r:id="rId14"/>
    <p:sldId id="628" r:id="rId15"/>
  </p:sldIdLst>
  <p:sldSz cx="10058400" cy="7772400"/>
  <p:notesSz cx="7023100" cy="9309100"/>
  <p:custDataLst>
    <p:tags r:id="rId18"/>
  </p:custDataLst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63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an Arakawa" initials="D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5C"/>
    <a:srgbClr val="00EE6C"/>
    <a:srgbClr val="FFFF2F"/>
    <a:srgbClr val="FFFF4F"/>
    <a:srgbClr val="FFFFC9"/>
    <a:srgbClr val="FFFFCC"/>
    <a:srgbClr val="FF8700"/>
    <a:srgbClr val="66FFFF"/>
    <a:srgbClr val="412855"/>
    <a:srgbClr val="B1A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5605" autoAdjust="0"/>
    <p:restoredTop sz="75225" autoAdjust="0"/>
  </p:normalViewPr>
  <p:slideViewPr>
    <p:cSldViewPr snapToGrid="0" snapToObjects="1" showGuides="1">
      <p:cViewPr varScale="1">
        <p:scale>
          <a:sx n="66" d="100"/>
          <a:sy n="66" d="100"/>
        </p:scale>
        <p:origin x="570" y="66"/>
      </p:cViewPr>
      <p:guideLst>
        <p:guide orient="horz"/>
        <p:guide pos="63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napToObjects="1" showGuides="1">
      <p:cViewPr varScale="1">
        <p:scale>
          <a:sx n="79" d="100"/>
          <a:sy n="79" d="100"/>
        </p:scale>
        <p:origin x="-1548" y="-96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4" Type="http://schemas.openxmlformats.org/officeDocument/2006/relationships/image" Target="../media/image15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2DF2EA-1F88-41E6-B2F0-30D313AE68A2}" type="doc">
      <dgm:prSet loTypeId="urn:microsoft.com/office/officeart/2005/8/layout/equati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14EB549-5B69-49C4-BCD1-F31936F1D831}">
      <dgm:prSet phldrT="[Text]"/>
      <dgm:spPr/>
      <dgm:t>
        <a:bodyPr/>
        <a:lstStyle/>
        <a:p>
          <a:r>
            <a:rPr lang="en-US" dirty="0" smtClean="0"/>
            <a:t>Vulnerable Generators</a:t>
          </a:r>
          <a:endParaRPr lang="en-US" dirty="0"/>
        </a:p>
      </dgm:t>
    </dgm:pt>
    <dgm:pt modelId="{D8794B45-2B9F-4408-9EAB-B999E28DF401}" type="parTrans" cxnId="{8605757C-7E0D-4DC0-A816-1BEE4D866F66}">
      <dgm:prSet/>
      <dgm:spPr/>
      <dgm:t>
        <a:bodyPr/>
        <a:lstStyle/>
        <a:p>
          <a:endParaRPr lang="en-US"/>
        </a:p>
      </dgm:t>
    </dgm:pt>
    <dgm:pt modelId="{CB07CD69-26C1-4FFB-B8B3-A98AA0C5B21F}" type="sibTrans" cxnId="{8605757C-7E0D-4DC0-A816-1BEE4D866F66}">
      <dgm:prSet/>
      <dgm:spPr/>
      <dgm:t>
        <a:bodyPr/>
        <a:lstStyle/>
        <a:p>
          <a:endParaRPr lang="en-US"/>
        </a:p>
      </dgm:t>
    </dgm:pt>
    <dgm:pt modelId="{1BD821CC-E896-4636-A53D-9A7F579F1E49}">
      <dgm:prSet phldrT="[Text]"/>
      <dgm:spPr/>
      <dgm:t>
        <a:bodyPr/>
        <a:lstStyle/>
        <a:p>
          <a:r>
            <a:rPr lang="en-US" dirty="0" smtClean="0"/>
            <a:t>Shift Load from Peak to Day Time minimum</a:t>
          </a:r>
          <a:endParaRPr lang="en-US" dirty="0"/>
        </a:p>
      </dgm:t>
    </dgm:pt>
    <dgm:pt modelId="{BA34C4B6-F44B-44D1-B698-C7A41DA170CE}" type="parTrans" cxnId="{2063BF0C-5404-4D7E-A6E7-8770F666702D}">
      <dgm:prSet/>
      <dgm:spPr/>
      <dgm:t>
        <a:bodyPr/>
        <a:lstStyle/>
        <a:p>
          <a:endParaRPr lang="en-US"/>
        </a:p>
      </dgm:t>
    </dgm:pt>
    <dgm:pt modelId="{2A94979A-40CE-45A0-972D-C70C63B2B254}" type="sibTrans" cxnId="{2063BF0C-5404-4D7E-A6E7-8770F666702D}">
      <dgm:prSet/>
      <dgm:spPr/>
      <dgm:t>
        <a:bodyPr/>
        <a:lstStyle/>
        <a:p>
          <a:endParaRPr lang="en-US"/>
        </a:p>
      </dgm:t>
    </dgm:pt>
    <dgm:pt modelId="{D38710E8-13AA-427E-BBB0-9E2100E529BD}">
      <dgm:prSet phldrT="[Text]"/>
      <dgm:spPr/>
      <dgm:t>
        <a:bodyPr/>
        <a:lstStyle/>
        <a:p>
          <a:r>
            <a:rPr lang="en-US" dirty="0" smtClean="0"/>
            <a:t>Stable System</a:t>
          </a:r>
          <a:endParaRPr lang="en-US" dirty="0"/>
        </a:p>
      </dgm:t>
    </dgm:pt>
    <dgm:pt modelId="{C240DD4A-9286-499C-A4BE-F4B70AA4C0BD}" type="parTrans" cxnId="{6AFB945B-66C7-468E-8542-205B26155862}">
      <dgm:prSet/>
      <dgm:spPr/>
      <dgm:t>
        <a:bodyPr/>
        <a:lstStyle/>
        <a:p>
          <a:endParaRPr lang="en-US"/>
        </a:p>
      </dgm:t>
    </dgm:pt>
    <dgm:pt modelId="{9FAFA026-6C10-4E29-BE5D-8FBCBC110524}" type="sibTrans" cxnId="{6AFB945B-66C7-468E-8542-205B26155862}">
      <dgm:prSet/>
      <dgm:spPr/>
      <dgm:t>
        <a:bodyPr/>
        <a:lstStyle/>
        <a:p>
          <a:endParaRPr lang="en-US"/>
        </a:p>
      </dgm:t>
    </dgm:pt>
    <dgm:pt modelId="{060A2FF0-3C90-4204-8515-0D802ACA366A}" type="pres">
      <dgm:prSet presAssocID="{1E2DF2EA-1F88-41E6-B2F0-30D313AE68A2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EB40738-AF78-4BDE-A800-AC7BAB6B5120}" type="pres">
      <dgm:prSet presAssocID="{814EB549-5B69-49C4-BCD1-F31936F1D831}" presName="node" presStyleLbl="node1" presStyleIdx="0" presStyleCnt="3" custLinFactNeighborX="-928" custLinFactNeighborY="6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03048E-923D-4331-9925-4B1D6938A3E7}" type="pres">
      <dgm:prSet presAssocID="{CB07CD69-26C1-4FFB-B8B3-A98AA0C5B21F}" presName="spacerL" presStyleCnt="0"/>
      <dgm:spPr/>
    </dgm:pt>
    <dgm:pt modelId="{0586E1EF-49E5-4030-8588-54672556604E}" type="pres">
      <dgm:prSet presAssocID="{CB07CD69-26C1-4FFB-B8B3-A98AA0C5B21F}" presName="sibTrans" presStyleLbl="sibTrans2D1" presStyleIdx="0" presStyleCnt="2"/>
      <dgm:spPr/>
      <dgm:t>
        <a:bodyPr/>
        <a:lstStyle/>
        <a:p>
          <a:endParaRPr lang="en-US"/>
        </a:p>
      </dgm:t>
    </dgm:pt>
    <dgm:pt modelId="{3E024FEE-E0AF-412C-AB70-006F26C04741}" type="pres">
      <dgm:prSet presAssocID="{CB07CD69-26C1-4FFB-B8B3-A98AA0C5B21F}" presName="spacerR" presStyleCnt="0"/>
      <dgm:spPr/>
    </dgm:pt>
    <dgm:pt modelId="{B5BA83E3-6F6E-4B6C-A848-1AD661F8311D}" type="pres">
      <dgm:prSet presAssocID="{1BD821CC-E896-4636-A53D-9A7F579F1E4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D8A5F2-5B7A-46C0-9EDB-C3F3A7472BCF}" type="pres">
      <dgm:prSet presAssocID="{2A94979A-40CE-45A0-972D-C70C63B2B254}" presName="spacerL" presStyleCnt="0"/>
      <dgm:spPr/>
    </dgm:pt>
    <dgm:pt modelId="{2D2141CD-C262-4C33-ABAE-7E97B60FC49A}" type="pres">
      <dgm:prSet presAssocID="{2A94979A-40CE-45A0-972D-C70C63B2B254}" presName="sibTrans" presStyleLbl="sibTrans2D1" presStyleIdx="1" presStyleCnt="2"/>
      <dgm:spPr/>
      <dgm:t>
        <a:bodyPr/>
        <a:lstStyle/>
        <a:p>
          <a:endParaRPr lang="en-US"/>
        </a:p>
      </dgm:t>
    </dgm:pt>
    <dgm:pt modelId="{91D19882-2E55-4991-BF97-134FEF4DE269}" type="pres">
      <dgm:prSet presAssocID="{2A94979A-40CE-45A0-972D-C70C63B2B254}" presName="spacerR" presStyleCnt="0"/>
      <dgm:spPr/>
    </dgm:pt>
    <dgm:pt modelId="{F49AC423-C629-47C6-95E0-1356F00B1E6D}" type="pres">
      <dgm:prSet presAssocID="{D38710E8-13AA-427E-BBB0-9E2100E529BD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BC4E83F-825A-48FB-BD35-10DB75F003D7}" type="presOf" srcId="{2A94979A-40CE-45A0-972D-C70C63B2B254}" destId="{2D2141CD-C262-4C33-ABAE-7E97B60FC49A}" srcOrd="0" destOrd="0" presId="urn:microsoft.com/office/officeart/2005/8/layout/equation1"/>
    <dgm:cxn modelId="{6AFB945B-66C7-468E-8542-205B26155862}" srcId="{1E2DF2EA-1F88-41E6-B2F0-30D313AE68A2}" destId="{D38710E8-13AA-427E-BBB0-9E2100E529BD}" srcOrd="2" destOrd="0" parTransId="{C240DD4A-9286-499C-A4BE-F4B70AA4C0BD}" sibTransId="{9FAFA026-6C10-4E29-BE5D-8FBCBC110524}"/>
    <dgm:cxn modelId="{F4EC2A72-F0B0-4088-B2E0-00677CB159CB}" type="presOf" srcId="{D38710E8-13AA-427E-BBB0-9E2100E529BD}" destId="{F49AC423-C629-47C6-95E0-1356F00B1E6D}" srcOrd="0" destOrd="0" presId="urn:microsoft.com/office/officeart/2005/8/layout/equation1"/>
    <dgm:cxn modelId="{506F08CE-B137-45D4-BC8B-958FE9F81FEA}" type="presOf" srcId="{1E2DF2EA-1F88-41E6-B2F0-30D313AE68A2}" destId="{060A2FF0-3C90-4204-8515-0D802ACA366A}" srcOrd="0" destOrd="0" presId="urn:microsoft.com/office/officeart/2005/8/layout/equation1"/>
    <dgm:cxn modelId="{E351AD01-3F84-4F83-96F6-527CF36DF239}" type="presOf" srcId="{1BD821CC-E896-4636-A53D-9A7F579F1E49}" destId="{B5BA83E3-6F6E-4B6C-A848-1AD661F8311D}" srcOrd="0" destOrd="0" presId="urn:microsoft.com/office/officeart/2005/8/layout/equation1"/>
    <dgm:cxn modelId="{59390B05-1025-4EEF-B8FA-E62FBD7A7BD0}" type="presOf" srcId="{CB07CD69-26C1-4FFB-B8B3-A98AA0C5B21F}" destId="{0586E1EF-49E5-4030-8588-54672556604E}" srcOrd="0" destOrd="0" presId="urn:microsoft.com/office/officeart/2005/8/layout/equation1"/>
    <dgm:cxn modelId="{9450F9C2-0715-4A68-A528-5161F2E55DAC}" type="presOf" srcId="{814EB549-5B69-49C4-BCD1-F31936F1D831}" destId="{6EB40738-AF78-4BDE-A800-AC7BAB6B5120}" srcOrd="0" destOrd="0" presId="urn:microsoft.com/office/officeart/2005/8/layout/equation1"/>
    <dgm:cxn modelId="{8605757C-7E0D-4DC0-A816-1BEE4D866F66}" srcId="{1E2DF2EA-1F88-41E6-B2F0-30D313AE68A2}" destId="{814EB549-5B69-49C4-BCD1-F31936F1D831}" srcOrd="0" destOrd="0" parTransId="{D8794B45-2B9F-4408-9EAB-B999E28DF401}" sibTransId="{CB07CD69-26C1-4FFB-B8B3-A98AA0C5B21F}"/>
    <dgm:cxn modelId="{2063BF0C-5404-4D7E-A6E7-8770F666702D}" srcId="{1E2DF2EA-1F88-41E6-B2F0-30D313AE68A2}" destId="{1BD821CC-E896-4636-A53D-9A7F579F1E49}" srcOrd="1" destOrd="0" parTransId="{BA34C4B6-F44B-44D1-B698-C7A41DA170CE}" sibTransId="{2A94979A-40CE-45A0-972D-C70C63B2B254}"/>
    <dgm:cxn modelId="{6E04C962-7489-4D68-B965-F8E8CD0A17DD}" type="presParOf" srcId="{060A2FF0-3C90-4204-8515-0D802ACA366A}" destId="{6EB40738-AF78-4BDE-A800-AC7BAB6B5120}" srcOrd="0" destOrd="0" presId="urn:microsoft.com/office/officeart/2005/8/layout/equation1"/>
    <dgm:cxn modelId="{E03F3A4F-555E-4264-BD93-B00F5CFE894A}" type="presParOf" srcId="{060A2FF0-3C90-4204-8515-0D802ACA366A}" destId="{5503048E-923D-4331-9925-4B1D6938A3E7}" srcOrd="1" destOrd="0" presId="urn:microsoft.com/office/officeart/2005/8/layout/equation1"/>
    <dgm:cxn modelId="{BBCEF29D-2868-4D9B-B7E5-F67DA03B1EF6}" type="presParOf" srcId="{060A2FF0-3C90-4204-8515-0D802ACA366A}" destId="{0586E1EF-49E5-4030-8588-54672556604E}" srcOrd="2" destOrd="0" presId="urn:microsoft.com/office/officeart/2005/8/layout/equation1"/>
    <dgm:cxn modelId="{BFA35EFA-8D8B-4940-A132-C7F5CE4C08E7}" type="presParOf" srcId="{060A2FF0-3C90-4204-8515-0D802ACA366A}" destId="{3E024FEE-E0AF-412C-AB70-006F26C04741}" srcOrd="3" destOrd="0" presId="urn:microsoft.com/office/officeart/2005/8/layout/equation1"/>
    <dgm:cxn modelId="{85A2DC8C-C570-4AF5-ABE6-02B79AEA7A1A}" type="presParOf" srcId="{060A2FF0-3C90-4204-8515-0D802ACA366A}" destId="{B5BA83E3-6F6E-4B6C-A848-1AD661F8311D}" srcOrd="4" destOrd="0" presId="urn:microsoft.com/office/officeart/2005/8/layout/equation1"/>
    <dgm:cxn modelId="{DA9E9C24-16F5-4868-ABA4-DFD3B29DE214}" type="presParOf" srcId="{060A2FF0-3C90-4204-8515-0D802ACA366A}" destId="{E6D8A5F2-5B7A-46C0-9EDB-C3F3A7472BCF}" srcOrd="5" destOrd="0" presId="urn:microsoft.com/office/officeart/2005/8/layout/equation1"/>
    <dgm:cxn modelId="{8D1A9A59-A2A1-4EAA-A567-E39A167C7070}" type="presParOf" srcId="{060A2FF0-3C90-4204-8515-0D802ACA366A}" destId="{2D2141CD-C262-4C33-ABAE-7E97B60FC49A}" srcOrd="6" destOrd="0" presId="urn:microsoft.com/office/officeart/2005/8/layout/equation1"/>
    <dgm:cxn modelId="{69EC5C05-262C-4538-AC77-91834079FB55}" type="presParOf" srcId="{060A2FF0-3C90-4204-8515-0D802ACA366A}" destId="{91D19882-2E55-4991-BF97-134FEF4DE269}" srcOrd="7" destOrd="0" presId="urn:microsoft.com/office/officeart/2005/8/layout/equation1"/>
    <dgm:cxn modelId="{4137F2F8-A536-4677-9EE2-BE7176202089}" type="presParOf" srcId="{060A2FF0-3C90-4204-8515-0D802ACA366A}" destId="{F49AC423-C629-47C6-95E0-1356F00B1E6D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E2DF2EA-1F88-41E6-B2F0-30D313AE68A2}" type="doc">
      <dgm:prSet loTypeId="urn:microsoft.com/office/officeart/2005/8/layout/equati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14EB549-5B69-49C4-BCD1-F31936F1D831}">
      <dgm:prSet phldrT="[Text]"/>
      <dgm:spPr/>
      <dgm:t>
        <a:bodyPr/>
        <a:lstStyle/>
        <a:p>
          <a:r>
            <a:rPr lang="en-US" dirty="0" smtClean="0"/>
            <a:t>Variability on circuit</a:t>
          </a:r>
          <a:endParaRPr lang="en-US" dirty="0"/>
        </a:p>
      </dgm:t>
    </dgm:pt>
    <dgm:pt modelId="{D8794B45-2B9F-4408-9EAB-B999E28DF401}" type="parTrans" cxnId="{8605757C-7E0D-4DC0-A816-1BEE4D866F66}">
      <dgm:prSet/>
      <dgm:spPr/>
      <dgm:t>
        <a:bodyPr/>
        <a:lstStyle/>
        <a:p>
          <a:endParaRPr lang="en-US"/>
        </a:p>
      </dgm:t>
    </dgm:pt>
    <dgm:pt modelId="{CB07CD69-26C1-4FFB-B8B3-A98AA0C5B21F}" type="sibTrans" cxnId="{8605757C-7E0D-4DC0-A816-1BEE4D866F66}">
      <dgm:prSet/>
      <dgm:spPr/>
      <dgm:t>
        <a:bodyPr/>
        <a:lstStyle/>
        <a:p>
          <a:endParaRPr lang="en-US"/>
        </a:p>
      </dgm:t>
    </dgm:pt>
    <dgm:pt modelId="{1BD821CC-E896-4636-A53D-9A7F579F1E49}">
      <dgm:prSet phldrT="[Text]"/>
      <dgm:spPr/>
      <dgm:t>
        <a:bodyPr/>
        <a:lstStyle/>
        <a:p>
          <a:r>
            <a:rPr lang="en-US" dirty="0" smtClean="0"/>
            <a:t>More Regulating Reserves</a:t>
          </a:r>
          <a:endParaRPr lang="en-US" dirty="0"/>
        </a:p>
      </dgm:t>
    </dgm:pt>
    <dgm:pt modelId="{BA34C4B6-F44B-44D1-B698-C7A41DA170CE}" type="parTrans" cxnId="{2063BF0C-5404-4D7E-A6E7-8770F666702D}">
      <dgm:prSet/>
      <dgm:spPr/>
      <dgm:t>
        <a:bodyPr/>
        <a:lstStyle/>
        <a:p>
          <a:endParaRPr lang="en-US"/>
        </a:p>
      </dgm:t>
    </dgm:pt>
    <dgm:pt modelId="{2A94979A-40CE-45A0-972D-C70C63B2B254}" type="sibTrans" cxnId="{2063BF0C-5404-4D7E-A6E7-8770F666702D}">
      <dgm:prSet/>
      <dgm:spPr/>
      <dgm:t>
        <a:bodyPr/>
        <a:lstStyle/>
        <a:p>
          <a:endParaRPr lang="en-US"/>
        </a:p>
      </dgm:t>
    </dgm:pt>
    <dgm:pt modelId="{D38710E8-13AA-427E-BBB0-9E2100E529BD}">
      <dgm:prSet phldrT="[Text]"/>
      <dgm:spPr/>
      <dgm:t>
        <a:bodyPr/>
        <a:lstStyle/>
        <a:p>
          <a:r>
            <a:rPr lang="en-US" dirty="0" smtClean="0"/>
            <a:t>Stable System</a:t>
          </a:r>
          <a:endParaRPr lang="en-US" dirty="0"/>
        </a:p>
      </dgm:t>
    </dgm:pt>
    <dgm:pt modelId="{C240DD4A-9286-499C-A4BE-F4B70AA4C0BD}" type="parTrans" cxnId="{6AFB945B-66C7-468E-8542-205B26155862}">
      <dgm:prSet/>
      <dgm:spPr/>
      <dgm:t>
        <a:bodyPr/>
        <a:lstStyle/>
        <a:p>
          <a:endParaRPr lang="en-US"/>
        </a:p>
      </dgm:t>
    </dgm:pt>
    <dgm:pt modelId="{9FAFA026-6C10-4E29-BE5D-8FBCBC110524}" type="sibTrans" cxnId="{6AFB945B-66C7-468E-8542-205B26155862}">
      <dgm:prSet/>
      <dgm:spPr/>
      <dgm:t>
        <a:bodyPr/>
        <a:lstStyle/>
        <a:p>
          <a:endParaRPr lang="en-US"/>
        </a:p>
      </dgm:t>
    </dgm:pt>
    <dgm:pt modelId="{060A2FF0-3C90-4204-8515-0D802ACA366A}" type="pres">
      <dgm:prSet presAssocID="{1E2DF2EA-1F88-41E6-B2F0-30D313AE68A2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EB40738-AF78-4BDE-A800-AC7BAB6B5120}" type="pres">
      <dgm:prSet presAssocID="{814EB549-5B69-49C4-BCD1-F31936F1D831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03048E-923D-4331-9925-4B1D6938A3E7}" type="pres">
      <dgm:prSet presAssocID="{CB07CD69-26C1-4FFB-B8B3-A98AA0C5B21F}" presName="spacerL" presStyleCnt="0"/>
      <dgm:spPr/>
    </dgm:pt>
    <dgm:pt modelId="{0586E1EF-49E5-4030-8588-54672556604E}" type="pres">
      <dgm:prSet presAssocID="{CB07CD69-26C1-4FFB-B8B3-A98AA0C5B21F}" presName="sibTrans" presStyleLbl="sibTrans2D1" presStyleIdx="0" presStyleCnt="2"/>
      <dgm:spPr/>
      <dgm:t>
        <a:bodyPr/>
        <a:lstStyle/>
        <a:p>
          <a:endParaRPr lang="en-US"/>
        </a:p>
      </dgm:t>
    </dgm:pt>
    <dgm:pt modelId="{3E024FEE-E0AF-412C-AB70-006F26C04741}" type="pres">
      <dgm:prSet presAssocID="{CB07CD69-26C1-4FFB-B8B3-A98AA0C5B21F}" presName="spacerR" presStyleCnt="0"/>
      <dgm:spPr/>
    </dgm:pt>
    <dgm:pt modelId="{B5BA83E3-6F6E-4B6C-A848-1AD661F8311D}" type="pres">
      <dgm:prSet presAssocID="{1BD821CC-E896-4636-A53D-9A7F579F1E4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D8A5F2-5B7A-46C0-9EDB-C3F3A7472BCF}" type="pres">
      <dgm:prSet presAssocID="{2A94979A-40CE-45A0-972D-C70C63B2B254}" presName="spacerL" presStyleCnt="0"/>
      <dgm:spPr/>
    </dgm:pt>
    <dgm:pt modelId="{2D2141CD-C262-4C33-ABAE-7E97B60FC49A}" type="pres">
      <dgm:prSet presAssocID="{2A94979A-40CE-45A0-972D-C70C63B2B254}" presName="sibTrans" presStyleLbl="sibTrans2D1" presStyleIdx="1" presStyleCnt="2"/>
      <dgm:spPr/>
      <dgm:t>
        <a:bodyPr/>
        <a:lstStyle/>
        <a:p>
          <a:endParaRPr lang="en-US"/>
        </a:p>
      </dgm:t>
    </dgm:pt>
    <dgm:pt modelId="{91D19882-2E55-4991-BF97-134FEF4DE269}" type="pres">
      <dgm:prSet presAssocID="{2A94979A-40CE-45A0-972D-C70C63B2B254}" presName="spacerR" presStyleCnt="0"/>
      <dgm:spPr/>
    </dgm:pt>
    <dgm:pt modelId="{F49AC423-C629-47C6-95E0-1356F00B1E6D}" type="pres">
      <dgm:prSet presAssocID="{D38710E8-13AA-427E-BBB0-9E2100E529BD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8FE01-4D76-4507-A64A-D066ED7EC2AC}" type="presOf" srcId="{CB07CD69-26C1-4FFB-B8B3-A98AA0C5B21F}" destId="{0586E1EF-49E5-4030-8588-54672556604E}" srcOrd="0" destOrd="0" presId="urn:microsoft.com/office/officeart/2005/8/layout/equation1"/>
    <dgm:cxn modelId="{5A945F34-E6F2-432F-B750-6B2A4018600D}" type="presOf" srcId="{814EB549-5B69-49C4-BCD1-F31936F1D831}" destId="{6EB40738-AF78-4BDE-A800-AC7BAB6B5120}" srcOrd="0" destOrd="0" presId="urn:microsoft.com/office/officeart/2005/8/layout/equation1"/>
    <dgm:cxn modelId="{7DAC2435-BAD4-42D9-9FE1-FFAF37794D50}" type="presOf" srcId="{1E2DF2EA-1F88-41E6-B2F0-30D313AE68A2}" destId="{060A2FF0-3C90-4204-8515-0D802ACA366A}" srcOrd="0" destOrd="0" presId="urn:microsoft.com/office/officeart/2005/8/layout/equation1"/>
    <dgm:cxn modelId="{6AFB945B-66C7-468E-8542-205B26155862}" srcId="{1E2DF2EA-1F88-41E6-B2F0-30D313AE68A2}" destId="{D38710E8-13AA-427E-BBB0-9E2100E529BD}" srcOrd="2" destOrd="0" parTransId="{C240DD4A-9286-499C-A4BE-F4B70AA4C0BD}" sibTransId="{9FAFA026-6C10-4E29-BE5D-8FBCBC110524}"/>
    <dgm:cxn modelId="{166B9C32-C583-4178-AC21-5F781716B356}" type="presOf" srcId="{D38710E8-13AA-427E-BBB0-9E2100E529BD}" destId="{F49AC423-C629-47C6-95E0-1356F00B1E6D}" srcOrd="0" destOrd="0" presId="urn:microsoft.com/office/officeart/2005/8/layout/equation1"/>
    <dgm:cxn modelId="{06BD4C4C-32D3-4B46-8AFE-1929C16B4FF6}" type="presOf" srcId="{1BD821CC-E896-4636-A53D-9A7F579F1E49}" destId="{B5BA83E3-6F6E-4B6C-A848-1AD661F8311D}" srcOrd="0" destOrd="0" presId="urn:microsoft.com/office/officeart/2005/8/layout/equation1"/>
    <dgm:cxn modelId="{8605757C-7E0D-4DC0-A816-1BEE4D866F66}" srcId="{1E2DF2EA-1F88-41E6-B2F0-30D313AE68A2}" destId="{814EB549-5B69-49C4-BCD1-F31936F1D831}" srcOrd="0" destOrd="0" parTransId="{D8794B45-2B9F-4408-9EAB-B999E28DF401}" sibTransId="{CB07CD69-26C1-4FFB-B8B3-A98AA0C5B21F}"/>
    <dgm:cxn modelId="{F260A878-ADED-44F7-BBB2-7543313ACB26}" type="presOf" srcId="{2A94979A-40CE-45A0-972D-C70C63B2B254}" destId="{2D2141CD-C262-4C33-ABAE-7E97B60FC49A}" srcOrd="0" destOrd="0" presId="urn:microsoft.com/office/officeart/2005/8/layout/equation1"/>
    <dgm:cxn modelId="{2063BF0C-5404-4D7E-A6E7-8770F666702D}" srcId="{1E2DF2EA-1F88-41E6-B2F0-30D313AE68A2}" destId="{1BD821CC-E896-4636-A53D-9A7F579F1E49}" srcOrd="1" destOrd="0" parTransId="{BA34C4B6-F44B-44D1-B698-C7A41DA170CE}" sibTransId="{2A94979A-40CE-45A0-972D-C70C63B2B254}"/>
    <dgm:cxn modelId="{6CCA5877-7E80-43AE-B982-F51DA2E70D34}" type="presParOf" srcId="{060A2FF0-3C90-4204-8515-0D802ACA366A}" destId="{6EB40738-AF78-4BDE-A800-AC7BAB6B5120}" srcOrd="0" destOrd="0" presId="urn:microsoft.com/office/officeart/2005/8/layout/equation1"/>
    <dgm:cxn modelId="{D1374EE8-7351-4F05-A980-6DB05EC13E3E}" type="presParOf" srcId="{060A2FF0-3C90-4204-8515-0D802ACA366A}" destId="{5503048E-923D-4331-9925-4B1D6938A3E7}" srcOrd="1" destOrd="0" presId="urn:microsoft.com/office/officeart/2005/8/layout/equation1"/>
    <dgm:cxn modelId="{B992A035-4917-4584-8F20-220F0CA9818D}" type="presParOf" srcId="{060A2FF0-3C90-4204-8515-0D802ACA366A}" destId="{0586E1EF-49E5-4030-8588-54672556604E}" srcOrd="2" destOrd="0" presId="urn:microsoft.com/office/officeart/2005/8/layout/equation1"/>
    <dgm:cxn modelId="{E0ECFE5B-F113-451A-95D8-CD12EAEFCD21}" type="presParOf" srcId="{060A2FF0-3C90-4204-8515-0D802ACA366A}" destId="{3E024FEE-E0AF-412C-AB70-006F26C04741}" srcOrd="3" destOrd="0" presId="urn:microsoft.com/office/officeart/2005/8/layout/equation1"/>
    <dgm:cxn modelId="{4FE33465-2019-46AF-98E8-3B69751EB4F6}" type="presParOf" srcId="{060A2FF0-3C90-4204-8515-0D802ACA366A}" destId="{B5BA83E3-6F6E-4B6C-A848-1AD661F8311D}" srcOrd="4" destOrd="0" presId="urn:microsoft.com/office/officeart/2005/8/layout/equation1"/>
    <dgm:cxn modelId="{2D8EDA16-5988-441B-AC0F-6852FA8FE13B}" type="presParOf" srcId="{060A2FF0-3C90-4204-8515-0D802ACA366A}" destId="{E6D8A5F2-5B7A-46C0-9EDB-C3F3A7472BCF}" srcOrd="5" destOrd="0" presId="urn:microsoft.com/office/officeart/2005/8/layout/equation1"/>
    <dgm:cxn modelId="{0FF67F0D-549B-4558-941A-68977EA1E2EB}" type="presParOf" srcId="{060A2FF0-3C90-4204-8515-0D802ACA366A}" destId="{2D2141CD-C262-4C33-ABAE-7E97B60FC49A}" srcOrd="6" destOrd="0" presId="urn:microsoft.com/office/officeart/2005/8/layout/equation1"/>
    <dgm:cxn modelId="{1F8F24A1-B34F-4062-8637-74C69F57239C}" type="presParOf" srcId="{060A2FF0-3C90-4204-8515-0D802ACA366A}" destId="{91D19882-2E55-4991-BF97-134FEF4DE269}" srcOrd="7" destOrd="0" presId="urn:microsoft.com/office/officeart/2005/8/layout/equation1"/>
    <dgm:cxn modelId="{2BA7CE79-0122-4CAF-8A90-D95C56CD1071}" type="presParOf" srcId="{060A2FF0-3C90-4204-8515-0D802ACA366A}" destId="{F49AC423-C629-47C6-95E0-1356F00B1E6D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C8FBF8-25B3-4868-BF79-3ECC7E1F51DC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</dgm:pt>
    <dgm:pt modelId="{B91BE33A-DB11-4D61-A56F-1C21DCF3E6A4}">
      <dgm:prSet phldrT="[Text]"/>
      <dgm:spPr/>
      <dgm:t>
        <a:bodyPr/>
        <a:lstStyle/>
        <a:p>
          <a:r>
            <a:rPr lang="en-US" dirty="0" smtClean="0"/>
            <a:t>DR Policy Statement</a:t>
          </a:r>
        </a:p>
        <a:p>
          <a:r>
            <a:rPr lang="en-US" dirty="0" smtClean="0"/>
            <a:t>April 2014</a:t>
          </a:r>
          <a:endParaRPr lang="en-US" dirty="0"/>
        </a:p>
      </dgm:t>
    </dgm:pt>
    <dgm:pt modelId="{F37E7488-791D-4C3E-BB54-D57CF6E19B30}" type="parTrans" cxnId="{C1F9D547-3C82-4D2B-9DBA-F624EA366CF3}">
      <dgm:prSet/>
      <dgm:spPr/>
      <dgm:t>
        <a:bodyPr/>
        <a:lstStyle/>
        <a:p>
          <a:endParaRPr lang="en-US"/>
        </a:p>
      </dgm:t>
    </dgm:pt>
    <dgm:pt modelId="{878280F6-9308-4ABE-88B0-DFC7FBCE9FF3}" type="sibTrans" cxnId="{C1F9D547-3C82-4D2B-9DBA-F624EA366CF3}">
      <dgm:prSet/>
      <dgm:spPr/>
      <dgm:t>
        <a:bodyPr/>
        <a:lstStyle/>
        <a:p>
          <a:endParaRPr lang="en-US"/>
        </a:p>
      </dgm:t>
    </dgm:pt>
    <dgm:pt modelId="{D8FB696C-6F51-4620-B257-59864EC073C1}">
      <dgm:prSet phldrT="[Text]"/>
      <dgm:spPr/>
      <dgm:t>
        <a:bodyPr/>
        <a:lstStyle/>
        <a:p>
          <a:r>
            <a:rPr lang="en-US" dirty="0" smtClean="0"/>
            <a:t>Service Definition, potential</a:t>
          </a:r>
        </a:p>
        <a:p>
          <a:r>
            <a:rPr lang="en-US" dirty="0" smtClean="0"/>
            <a:t>Dec 2015</a:t>
          </a:r>
          <a:endParaRPr lang="en-US" dirty="0"/>
        </a:p>
      </dgm:t>
    </dgm:pt>
    <dgm:pt modelId="{AFFC8772-7EE9-4F7C-BD86-546BEA7CC837}" type="parTrans" cxnId="{F58B5FA1-A030-4553-A37E-58087894392D}">
      <dgm:prSet/>
      <dgm:spPr/>
      <dgm:t>
        <a:bodyPr/>
        <a:lstStyle/>
        <a:p>
          <a:endParaRPr lang="en-US"/>
        </a:p>
      </dgm:t>
    </dgm:pt>
    <dgm:pt modelId="{3866BAE6-1E46-42F8-9BC0-CD8637DD0AEF}" type="sibTrans" cxnId="{F58B5FA1-A030-4553-A37E-58087894392D}">
      <dgm:prSet/>
      <dgm:spPr/>
      <dgm:t>
        <a:bodyPr/>
        <a:lstStyle/>
        <a:p>
          <a:endParaRPr lang="en-US"/>
        </a:p>
      </dgm:t>
    </dgm:pt>
    <dgm:pt modelId="{C72F899D-2618-4C17-870D-483E07DE8A63}">
      <dgm:prSet phldrT="[Text]"/>
      <dgm:spPr/>
      <dgm:t>
        <a:bodyPr/>
        <a:lstStyle/>
        <a:p>
          <a:r>
            <a:rPr lang="en-US" dirty="0" smtClean="0"/>
            <a:t>DR Portfolio Application</a:t>
          </a:r>
        </a:p>
        <a:p>
          <a:r>
            <a:rPr lang="en-US" dirty="0" smtClean="0"/>
            <a:t>Feb 2017</a:t>
          </a:r>
          <a:endParaRPr lang="en-US" dirty="0"/>
        </a:p>
      </dgm:t>
    </dgm:pt>
    <dgm:pt modelId="{6B4D10FC-01B9-418D-8FB9-8A35124D23CF}" type="parTrans" cxnId="{C31DBE18-1ABC-42E7-89ED-2A1E8B38B4A0}">
      <dgm:prSet/>
      <dgm:spPr/>
      <dgm:t>
        <a:bodyPr/>
        <a:lstStyle/>
        <a:p>
          <a:endParaRPr lang="en-US"/>
        </a:p>
      </dgm:t>
    </dgm:pt>
    <dgm:pt modelId="{9C965C48-5B98-4791-8481-93A29E7E82BA}" type="sibTrans" cxnId="{C31DBE18-1ABC-42E7-89ED-2A1E8B38B4A0}">
      <dgm:prSet/>
      <dgm:spPr/>
      <dgm:t>
        <a:bodyPr/>
        <a:lstStyle/>
        <a:p>
          <a:endParaRPr lang="en-US"/>
        </a:p>
      </dgm:t>
    </dgm:pt>
    <dgm:pt modelId="{E1F1A08D-2D25-40D2-9C8C-B2C865EEB2AD}">
      <dgm:prSet phldrT="[Text]"/>
      <dgm:spPr/>
      <dgm:t>
        <a:bodyPr/>
        <a:lstStyle/>
        <a:p>
          <a:r>
            <a:rPr lang="en-US" dirty="0" smtClean="0"/>
            <a:t>Service Valuing December 2016</a:t>
          </a:r>
          <a:endParaRPr lang="en-US" dirty="0"/>
        </a:p>
      </dgm:t>
    </dgm:pt>
    <dgm:pt modelId="{106AD6F2-3E2A-4767-88E0-D9E17AEB8EC3}" type="parTrans" cxnId="{F16EEE1D-7AF9-4003-96E7-196CB550EF6C}">
      <dgm:prSet/>
      <dgm:spPr/>
      <dgm:t>
        <a:bodyPr/>
        <a:lstStyle/>
        <a:p>
          <a:endParaRPr lang="en-US"/>
        </a:p>
      </dgm:t>
    </dgm:pt>
    <dgm:pt modelId="{0E713D52-03EE-4889-AD5A-789AD544D154}" type="sibTrans" cxnId="{F16EEE1D-7AF9-4003-96E7-196CB550EF6C}">
      <dgm:prSet/>
      <dgm:spPr/>
      <dgm:t>
        <a:bodyPr/>
        <a:lstStyle/>
        <a:p>
          <a:endParaRPr lang="en-US"/>
        </a:p>
      </dgm:t>
    </dgm:pt>
    <dgm:pt modelId="{D91A365B-63EE-43A2-A2D5-B320273D9314}">
      <dgm:prSet phldrT="[Text]"/>
      <dgm:spPr/>
      <dgm:t>
        <a:bodyPr/>
        <a:lstStyle/>
        <a:p>
          <a:r>
            <a:rPr lang="en-US" dirty="0" smtClean="0"/>
            <a:t>Demonstration Projects October 2016</a:t>
          </a:r>
          <a:endParaRPr lang="en-US" dirty="0"/>
        </a:p>
      </dgm:t>
    </dgm:pt>
    <dgm:pt modelId="{F7B770F9-C3A6-4036-A05B-FFC294E59DD5}" type="parTrans" cxnId="{8AB2EA42-C70E-4C91-A083-DB87E088FCED}">
      <dgm:prSet/>
      <dgm:spPr/>
      <dgm:t>
        <a:bodyPr/>
        <a:lstStyle/>
        <a:p>
          <a:endParaRPr lang="en-US"/>
        </a:p>
      </dgm:t>
    </dgm:pt>
    <dgm:pt modelId="{7E570F50-075F-4957-9F50-237464D96CF2}" type="sibTrans" cxnId="{8AB2EA42-C70E-4C91-A083-DB87E088FCED}">
      <dgm:prSet/>
      <dgm:spPr/>
      <dgm:t>
        <a:bodyPr/>
        <a:lstStyle/>
        <a:p>
          <a:endParaRPr lang="en-US"/>
        </a:p>
      </dgm:t>
    </dgm:pt>
    <dgm:pt modelId="{5E9A74A9-E45A-4473-9187-B2F915807977}">
      <dgm:prSet phldrT="[Text]"/>
      <dgm:spPr/>
      <dgm:t>
        <a:bodyPr/>
        <a:lstStyle/>
        <a:p>
          <a:r>
            <a:rPr lang="en-US" dirty="0" smtClean="0"/>
            <a:t>Launch Portfolio Fall 2017</a:t>
          </a:r>
          <a:endParaRPr lang="en-US" dirty="0"/>
        </a:p>
      </dgm:t>
    </dgm:pt>
    <dgm:pt modelId="{FEFE7CE8-DF92-4EBB-AD2F-17CB057B7256}" type="parTrans" cxnId="{3416815B-AAC2-4B9C-8EDA-E62DBA3C2AE1}">
      <dgm:prSet/>
      <dgm:spPr/>
      <dgm:t>
        <a:bodyPr/>
        <a:lstStyle/>
        <a:p>
          <a:endParaRPr lang="en-US"/>
        </a:p>
      </dgm:t>
    </dgm:pt>
    <dgm:pt modelId="{BE57165F-3843-4F79-998B-06EA4ED8CE05}" type="sibTrans" cxnId="{3416815B-AAC2-4B9C-8EDA-E62DBA3C2AE1}">
      <dgm:prSet/>
      <dgm:spPr/>
      <dgm:t>
        <a:bodyPr/>
        <a:lstStyle/>
        <a:p>
          <a:endParaRPr lang="en-US"/>
        </a:p>
      </dgm:t>
    </dgm:pt>
    <dgm:pt modelId="{CAAB83DD-CEC2-403F-8B55-AACB99F2D7EA}" type="pres">
      <dgm:prSet presAssocID="{00C8FBF8-25B3-4868-BF79-3ECC7E1F51DC}" presName="Name0" presStyleCnt="0">
        <dgm:presLayoutVars>
          <dgm:dir/>
          <dgm:resizeHandles val="exact"/>
        </dgm:presLayoutVars>
      </dgm:prSet>
      <dgm:spPr/>
    </dgm:pt>
    <dgm:pt modelId="{626A7923-D4F3-429C-ABBD-28FAB635FE23}" type="pres">
      <dgm:prSet presAssocID="{00C8FBF8-25B3-4868-BF79-3ECC7E1F51DC}" presName="arrow" presStyleLbl="bgShp" presStyleIdx="0" presStyleCnt="1"/>
      <dgm:spPr/>
    </dgm:pt>
    <dgm:pt modelId="{FF4FE989-D629-42A0-B67B-BAE4EB802694}" type="pres">
      <dgm:prSet presAssocID="{00C8FBF8-25B3-4868-BF79-3ECC7E1F51DC}" presName="points" presStyleCnt="0"/>
      <dgm:spPr/>
    </dgm:pt>
    <dgm:pt modelId="{82AFF64B-64A5-4318-9A11-5807D9E865E3}" type="pres">
      <dgm:prSet presAssocID="{B91BE33A-DB11-4D61-A56F-1C21DCF3E6A4}" presName="compositeA" presStyleCnt="0"/>
      <dgm:spPr/>
    </dgm:pt>
    <dgm:pt modelId="{4A139C72-B5EE-474D-AE3B-3826F7650187}" type="pres">
      <dgm:prSet presAssocID="{B91BE33A-DB11-4D61-A56F-1C21DCF3E6A4}" presName="textA" presStyleLbl="revTx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383AEA-072F-41F7-8638-144DAB94BAEA}" type="pres">
      <dgm:prSet presAssocID="{B91BE33A-DB11-4D61-A56F-1C21DCF3E6A4}" presName="circleA" presStyleLbl="node1" presStyleIdx="0" presStyleCnt="6"/>
      <dgm:spPr/>
    </dgm:pt>
    <dgm:pt modelId="{F2B88E9F-6D86-4710-8A9E-E54B6DD643EB}" type="pres">
      <dgm:prSet presAssocID="{B91BE33A-DB11-4D61-A56F-1C21DCF3E6A4}" presName="spaceA" presStyleCnt="0"/>
      <dgm:spPr/>
    </dgm:pt>
    <dgm:pt modelId="{8918C311-E024-4750-9563-AD1942D4204A}" type="pres">
      <dgm:prSet presAssocID="{878280F6-9308-4ABE-88B0-DFC7FBCE9FF3}" presName="space" presStyleCnt="0"/>
      <dgm:spPr/>
    </dgm:pt>
    <dgm:pt modelId="{2086D36E-1376-4691-BA08-187AA96EF0B6}" type="pres">
      <dgm:prSet presAssocID="{D8FB696C-6F51-4620-B257-59864EC073C1}" presName="compositeB" presStyleCnt="0"/>
      <dgm:spPr/>
    </dgm:pt>
    <dgm:pt modelId="{4F171527-24AD-4D6B-8758-C1032184D3BC}" type="pres">
      <dgm:prSet presAssocID="{D8FB696C-6F51-4620-B257-59864EC073C1}" presName="textB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2BA77C-B87F-4FDD-84A0-B0E2F92B3378}" type="pres">
      <dgm:prSet presAssocID="{D8FB696C-6F51-4620-B257-59864EC073C1}" presName="circleB" presStyleLbl="node1" presStyleIdx="1" presStyleCnt="6"/>
      <dgm:spPr/>
    </dgm:pt>
    <dgm:pt modelId="{D5D068BB-6D65-4B1A-AEB3-846FE38AD974}" type="pres">
      <dgm:prSet presAssocID="{D8FB696C-6F51-4620-B257-59864EC073C1}" presName="spaceB" presStyleCnt="0"/>
      <dgm:spPr/>
    </dgm:pt>
    <dgm:pt modelId="{06689371-27F6-4CEB-BB31-F84A06DC6F7C}" type="pres">
      <dgm:prSet presAssocID="{3866BAE6-1E46-42F8-9BC0-CD8637DD0AEF}" presName="space" presStyleCnt="0"/>
      <dgm:spPr/>
    </dgm:pt>
    <dgm:pt modelId="{9D854F19-AB9C-4510-9B73-57E631FC6BAE}" type="pres">
      <dgm:prSet presAssocID="{D91A365B-63EE-43A2-A2D5-B320273D9314}" presName="compositeA" presStyleCnt="0"/>
      <dgm:spPr/>
    </dgm:pt>
    <dgm:pt modelId="{EA90737A-357A-4C3E-891D-08E300103C53}" type="pres">
      <dgm:prSet presAssocID="{D91A365B-63EE-43A2-A2D5-B320273D9314}" presName="textA" presStyleLbl="revTx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06F9D9-FE19-484A-815D-ED734F4764CC}" type="pres">
      <dgm:prSet presAssocID="{D91A365B-63EE-43A2-A2D5-B320273D9314}" presName="circleA" presStyleLbl="node1" presStyleIdx="2" presStyleCnt="6"/>
      <dgm:spPr/>
    </dgm:pt>
    <dgm:pt modelId="{40613E31-F731-4BCB-B9AD-3BB47EB318C8}" type="pres">
      <dgm:prSet presAssocID="{D91A365B-63EE-43A2-A2D5-B320273D9314}" presName="spaceA" presStyleCnt="0"/>
      <dgm:spPr/>
    </dgm:pt>
    <dgm:pt modelId="{4FCA69EE-223B-41B5-B023-77F3C244A659}" type="pres">
      <dgm:prSet presAssocID="{7E570F50-075F-4957-9F50-237464D96CF2}" presName="space" presStyleCnt="0"/>
      <dgm:spPr/>
    </dgm:pt>
    <dgm:pt modelId="{835D7BB1-3077-41C5-9629-E7865D0CEDE9}" type="pres">
      <dgm:prSet presAssocID="{E1F1A08D-2D25-40D2-9C8C-B2C865EEB2AD}" presName="compositeB" presStyleCnt="0"/>
      <dgm:spPr/>
    </dgm:pt>
    <dgm:pt modelId="{8070591D-4E0A-48A3-BA9E-B356C8AE07A0}" type="pres">
      <dgm:prSet presAssocID="{E1F1A08D-2D25-40D2-9C8C-B2C865EEB2AD}" presName="textB" presStyleLbl="revTx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1125CA-FDEB-4FB5-ABB7-02CEF22CB57C}" type="pres">
      <dgm:prSet presAssocID="{E1F1A08D-2D25-40D2-9C8C-B2C865EEB2AD}" presName="circleB" presStyleLbl="node1" presStyleIdx="3" presStyleCnt="6"/>
      <dgm:spPr/>
    </dgm:pt>
    <dgm:pt modelId="{FDBB26C1-42BC-4241-ABC3-5444FE8F7E30}" type="pres">
      <dgm:prSet presAssocID="{E1F1A08D-2D25-40D2-9C8C-B2C865EEB2AD}" presName="spaceB" presStyleCnt="0"/>
      <dgm:spPr/>
    </dgm:pt>
    <dgm:pt modelId="{818C8674-5F4D-4E49-9DB7-B02BB7A85EFD}" type="pres">
      <dgm:prSet presAssocID="{0E713D52-03EE-4889-AD5A-789AD544D154}" presName="space" presStyleCnt="0"/>
      <dgm:spPr/>
    </dgm:pt>
    <dgm:pt modelId="{61F65DDE-ECB4-4298-93D2-5CBE793439EF}" type="pres">
      <dgm:prSet presAssocID="{C72F899D-2618-4C17-870D-483E07DE8A63}" presName="compositeA" presStyleCnt="0"/>
      <dgm:spPr/>
    </dgm:pt>
    <dgm:pt modelId="{83ACDBEA-5FE7-4211-9C93-ADF43A6710B2}" type="pres">
      <dgm:prSet presAssocID="{C72F899D-2618-4C17-870D-483E07DE8A63}" presName="textA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20204A-D57A-4B8E-A0E1-766C84A9EBE7}" type="pres">
      <dgm:prSet presAssocID="{C72F899D-2618-4C17-870D-483E07DE8A63}" presName="circleA" presStyleLbl="node1" presStyleIdx="4" presStyleCnt="6"/>
      <dgm:spPr/>
    </dgm:pt>
    <dgm:pt modelId="{6DAB40E8-8788-4DA1-83B5-6351047748D2}" type="pres">
      <dgm:prSet presAssocID="{C72F899D-2618-4C17-870D-483E07DE8A63}" presName="spaceA" presStyleCnt="0"/>
      <dgm:spPr/>
    </dgm:pt>
    <dgm:pt modelId="{1A81BAFB-5613-4F48-9966-BBF1FB682ED3}" type="pres">
      <dgm:prSet presAssocID="{9C965C48-5B98-4791-8481-93A29E7E82BA}" presName="space" presStyleCnt="0"/>
      <dgm:spPr/>
    </dgm:pt>
    <dgm:pt modelId="{BFB928BC-D624-4445-B97B-014FFF5B649E}" type="pres">
      <dgm:prSet presAssocID="{5E9A74A9-E45A-4473-9187-B2F915807977}" presName="compositeB" presStyleCnt="0"/>
      <dgm:spPr/>
    </dgm:pt>
    <dgm:pt modelId="{37B24AAA-CCB1-4E53-B858-D971FDFBB12C}" type="pres">
      <dgm:prSet presAssocID="{5E9A74A9-E45A-4473-9187-B2F915807977}" presName="textB" presStyleLbl="revTx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F0572-A701-4688-90E4-A45AD1C5A7B0}" type="pres">
      <dgm:prSet presAssocID="{5E9A74A9-E45A-4473-9187-B2F915807977}" presName="circleB" presStyleLbl="node1" presStyleIdx="5" presStyleCnt="6"/>
      <dgm:spPr/>
    </dgm:pt>
    <dgm:pt modelId="{F3CDAE68-D35D-4F6A-8EC3-C2FC3AECD857}" type="pres">
      <dgm:prSet presAssocID="{5E9A74A9-E45A-4473-9187-B2F915807977}" presName="spaceB" presStyleCnt="0"/>
      <dgm:spPr/>
    </dgm:pt>
  </dgm:ptLst>
  <dgm:cxnLst>
    <dgm:cxn modelId="{F16EEE1D-7AF9-4003-96E7-196CB550EF6C}" srcId="{00C8FBF8-25B3-4868-BF79-3ECC7E1F51DC}" destId="{E1F1A08D-2D25-40D2-9C8C-B2C865EEB2AD}" srcOrd="3" destOrd="0" parTransId="{106AD6F2-3E2A-4767-88E0-D9E17AEB8EC3}" sibTransId="{0E713D52-03EE-4889-AD5A-789AD544D154}"/>
    <dgm:cxn modelId="{C1F9D547-3C82-4D2B-9DBA-F624EA366CF3}" srcId="{00C8FBF8-25B3-4868-BF79-3ECC7E1F51DC}" destId="{B91BE33A-DB11-4D61-A56F-1C21DCF3E6A4}" srcOrd="0" destOrd="0" parTransId="{F37E7488-791D-4C3E-BB54-D57CF6E19B30}" sibTransId="{878280F6-9308-4ABE-88B0-DFC7FBCE9FF3}"/>
    <dgm:cxn modelId="{28CE17BC-68BA-4DB4-9AE7-79A3BB032D23}" type="presOf" srcId="{B91BE33A-DB11-4D61-A56F-1C21DCF3E6A4}" destId="{4A139C72-B5EE-474D-AE3B-3826F7650187}" srcOrd="0" destOrd="0" presId="urn:microsoft.com/office/officeart/2005/8/layout/hProcess11"/>
    <dgm:cxn modelId="{690E1D1E-2780-4B83-A505-8EB77D979AF5}" type="presOf" srcId="{D8FB696C-6F51-4620-B257-59864EC073C1}" destId="{4F171527-24AD-4D6B-8758-C1032184D3BC}" srcOrd="0" destOrd="0" presId="urn:microsoft.com/office/officeart/2005/8/layout/hProcess11"/>
    <dgm:cxn modelId="{C31DBE18-1ABC-42E7-89ED-2A1E8B38B4A0}" srcId="{00C8FBF8-25B3-4868-BF79-3ECC7E1F51DC}" destId="{C72F899D-2618-4C17-870D-483E07DE8A63}" srcOrd="4" destOrd="0" parTransId="{6B4D10FC-01B9-418D-8FB9-8A35124D23CF}" sibTransId="{9C965C48-5B98-4791-8481-93A29E7E82BA}"/>
    <dgm:cxn modelId="{A6368ED0-3422-4A5B-BED0-406F673992F3}" type="presOf" srcId="{5E9A74A9-E45A-4473-9187-B2F915807977}" destId="{37B24AAA-CCB1-4E53-B858-D971FDFBB12C}" srcOrd="0" destOrd="0" presId="urn:microsoft.com/office/officeart/2005/8/layout/hProcess11"/>
    <dgm:cxn modelId="{3416815B-AAC2-4B9C-8EDA-E62DBA3C2AE1}" srcId="{00C8FBF8-25B3-4868-BF79-3ECC7E1F51DC}" destId="{5E9A74A9-E45A-4473-9187-B2F915807977}" srcOrd="5" destOrd="0" parTransId="{FEFE7CE8-DF92-4EBB-AD2F-17CB057B7256}" sibTransId="{BE57165F-3843-4F79-998B-06EA4ED8CE05}"/>
    <dgm:cxn modelId="{8AB2EA42-C70E-4C91-A083-DB87E088FCED}" srcId="{00C8FBF8-25B3-4868-BF79-3ECC7E1F51DC}" destId="{D91A365B-63EE-43A2-A2D5-B320273D9314}" srcOrd="2" destOrd="0" parTransId="{F7B770F9-C3A6-4036-A05B-FFC294E59DD5}" sibTransId="{7E570F50-075F-4957-9F50-237464D96CF2}"/>
    <dgm:cxn modelId="{2C86010E-F0F8-46EC-A6E8-0FD0826213D3}" type="presOf" srcId="{00C8FBF8-25B3-4868-BF79-3ECC7E1F51DC}" destId="{CAAB83DD-CEC2-403F-8B55-AACB99F2D7EA}" srcOrd="0" destOrd="0" presId="urn:microsoft.com/office/officeart/2005/8/layout/hProcess11"/>
    <dgm:cxn modelId="{F58B5FA1-A030-4553-A37E-58087894392D}" srcId="{00C8FBF8-25B3-4868-BF79-3ECC7E1F51DC}" destId="{D8FB696C-6F51-4620-B257-59864EC073C1}" srcOrd="1" destOrd="0" parTransId="{AFFC8772-7EE9-4F7C-BD86-546BEA7CC837}" sibTransId="{3866BAE6-1E46-42F8-9BC0-CD8637DD0AEF}"/>
    <dgm:cxn modelId="{26AA5222-E30B-4725-8A0C-094B567315C4}" type="presOf" srcId="{E1F1A08D-2D25-40D2-9C8C-B2C865EEB2AD}" destId="{8070591D-4E0A-48A3-BA9E-B356C8AE07A0}" srcOrd="0" destOrd="0" presId="urn:microsoft.com/office/officeart/2005/8/layout/hProcess11"/>
    <dgm:cxn modelId="{C62986D7-DC54-407B-BE95-13E3DC180135}" type="presOf" srcId="{D91A365B-63EE-43A2-A2D5-B320273D9314}" destId="{EA90737A-357A-4C3E-891D-08E300103C53}" srcOrd="0" destOrd="0" presId="urn:microsoft.com/office/officeart/2005/8/layout/hProcess11"/>
    <dgm:cxn modelId="{6B1E6E04-CCB2-4A7E-B162-B94142431FB0}" type="presOf" srcId="{C72F899D-2618-4C17-870D-483E07DE8A63}" destId="{83ACDBEA-5FE7-4211-9C93-ADF43A6710B2}" srcOrd="0" destOrd="0" presId="urn:microsoft.com/office/officeart/2005/8/layout/hProcess11"/>
    <dgm:cxn modelId="{BD796615-BD36-41AA-AB95-2D2348933B45}" type="presParOf" srcId="{CAAB83DD-CEC2-403F-8B55-AACB99F2D7EA}" destId="{626A7923-D4F3-429C-ABBD-28FAB635FE23}" srcOrd="0" destOrd="0" presId="urn:microsoft.com/office/officeart/2005/8/layout/hProcess11"/>
    <dgm:cxn modelId="{CFA60920-CB23-496C-9623-A4D044E1EDEF}" type="presParOf" srcId="{CAAB83DD-CEC2-403F-8B55-AACB99F2D7EA}" destId="{FF4FE989-D629-42A0-B67B-BAE4EB802694}" srcOrd="1" destOrd="0" presId="urn:microsoft.com/office/officeart/2005/8/layout/hProcess11"/>
    <dgm:cxn modelId="{16DD7A13-56A0-41D2-879A-5377E379BADD}" type="presParOf" srcId="{FF4FE989-D629-42A0-B67B-BAE4EB802694}" destId="{82AFF64B-64A5-4318-9A11-5807D9E865E3}" srcOrd="0" destOrd="0" presId="urn:microsoft.com/office/officeart/2005/8/layout/hProcess11"/>
    <dgm:cxn modelId="{59D24C20-2BD3-43C5-B755-A02E85847B77}" type="presParOf" srcId="{82AFF64B-64A5-4318-9A11-5807D9E865E3}" destId="{4A139C72-B5EE-474D-AE3B-3826F7650187}" srcOrd="0" destOrd="0" presId="urn:microsoft.com/office/officeart/2005/8/layout/hProcess11"/>
    <dgm:cxn modelId="{3ADA0636-318A-4A0E-96E7-CFB937C74CCE}" type="presParOf" srcId="{82AFF64B-64A5-4318-9A11-5807D9E865E3}" destId="{73383AEA-072F-41F7-8638-144DAB94BAEA}" srcOrd="1" destOrd="0" presId="urn:microsoft.com/office/officeart/2005/8/layout/hProcess11"/>
    <dgm:cxn modelId="{06BF5A18-01B0-4AA9-8B6C-4887FE5765B5}" type="presParOf" srcId="{82AFF64B-64A5-4318-9A11-5807D9E865E3}" destId="{F2B88E9F-6D86-4710-8A9E-E54B6DD643EB}" srcOrd="2" destOrd="0" presId="urn:microsoft.com/office/officeart/2005/8/layout/hProcess11"/>
    <dgm:cxn modelId="{18F3E9BA-F63E-4CB6-A01C-26A3A96F6B82}" type="presParOf" srcId="{FF4FE989-D629-42A0-B67B-BAE4EB802694}" destId="{8918C311-E024-4750-9563-AD1942D4204A}" srcOrd="1" destOrd="0" presId="urn:microsoft.com/office/officeart/2005/8/layout/hProcess11"/>
    <dgm:cxn modelId="{04E003FA-D46F-4980-B1B3-FA5049DF5EB9}" type="presParOf" srcId="{FF4FE989-D629-42A0-B67B-BAE4EB802694}" destId="{2086D36E-1376-4691-BA08-187AA96EF0B6}" srcOrd="2" destOrd="0" presId="urn:microsoft.com/office/officeart/2005/8/layout/hProcess11"/>
    <dgm:cxn modelId="{657FFC52-2FB1-4D51-AFB9-694C008FA268}" type="presParOf" srcId="{2086D36E-1376-4691-BA08-187AA96EF0B6}" destId="{4F171527-24AD-4D6B-8758-C1032184D3BC}" srcOrd="0" destOrd="0" presId="urn:microsoft.com/office/officeart/2005/8/layout/hProcess11"/>
    <dgm:cxn modelId="{F81207DB-A327-462C-AA85-876516879745}" type="presParOf" srcId="{2086D36E-1376-4691-BA08-187AA96EF0B6}" destId="{252BA77C-B87F-4FDD-84A0-B0E2F92B3378}" srcOrd="1" destOrd="0" presId="urn:microsoft.com/office/officeart/2005/8/layout/hProcess11"/>
    <dgm:cxn modelId="{DB50E260-CD5F-483F-8512-561682BCEBDF}" type="presParOf" srcId="{2086D36E-1376-4691-BA08-187AA96EF0B6}" destId="{D5D068BB-6D65-4B1A-AEB3-846FE38AD974}" srcOrd="2" destOrd="0" presId="urn:microsoft.com/office/officeart/2005/8/layout/hProcess11"/>
    <dgm:cxn modelId="{F319700B-AE91-494A-A88A-26F6041E70C3}" type="presParOf" srcId="{FF4FE989-D629-42A0-B67B-BAE4EB802694}" destId="{06689371-27F6-4CEB-BB31-F84A06DC6F7C}" srcOrd="3" destOrd="0" presId="urn:microsoft.com/office/officeart/2005/8/layout/hProcess11"/>
    <dgm:cxn modelId="{07303DA7-563D-42E6-B36E-2B40051A74AE}" type="presParOf" srcId="{FF4FE989-D629-42A0-B67B-BAE4EB802694}" destId="{9D854F19-AB9C-4510-9B73-57E631FC6BAE}" srcOrd="4" destOrd="0" presId="urn:microsoft.com/office/officeart/2005/8/layout/hProcess11"/>
    <dgm:cxn modelId="{7C1DBDA7-7639-42F1-8210-7D98D4752990}" type="presParOf" srcId="{9D854F19-AB9C-4510-9B73-57E631FC6BAE}" destId="{EA90737A-357A-4C3E-891D-08E300103C53}" srcOrd="0" destOrd="0" presId="urn:microsoft.com/office/officeart/2005/8/layout/hProcess11"/>
    <dgm:cxn modelId="{B59C80AF-B4D0-4ED4-B922-1E625DF55A6F}" type="presParOf" srcId="{9D854F19-AB9C-4510-9B73-57E631FC6BAE}" destId="{C306F9D9-FE19-484A-815D-ED734F4764CC}" srcOrd="1" destOrd="0" presId="urn:microsoft.com/office/officeart/2005/8/layout/hProcess11"/>
    <dgm:cxn modelId="{807DE9C2-729B-4105-90A8-788ECEDB1117}" type="presParOf" srcId="{9D854F19-AB9C-4510-9B73-57E631FC6BAE}" destId="{40613E31-F731-4BCB-B9AD-3BB47EB318C8}" srcOrd="2" destOrd="0" presId="urn:microsoft.com/office/officeart/2005/8/layout/hProcess11"/>
    <dgm:cxn modelId="{68A1A77D-40BA-4182-8132-0918D047D330}" type="presParOf" srcId="{FF4FE989-D629-42A0-B67B-BAE4EB802694}" destId="{4FCA69EE-223B-41B5-B023-77F3C244A659}" srcOrd="5" destOrd="0" presId="urn:microsoft.com/office/officeart/2005/8/layout/hProcess11"/>
    <dgm:cxn modelId="{0AA4FE63-3F30-4833-97B4-1E16E049B709}" type="presParOf" srcId="{FF4FE989-D629-42A0-B67B-BAE4EB802694}" destId="{835D7BB1-3077-41C5-9629-E7865D0CEDE9}" srcOrd="6" destOrd="0" presId="urn:microsoft.com/office/officeart/2005/8/layout/hProcess11"/>
    <dgm:cxn modelId="{5B94660F-2294-4D3C-AB00-A55072C6B78C}" type="presParOf" srcId="{835D7BB1-3077-41C5-9629-E7865D0CEDE9}" destId="{8070591D-4E0A-48A3-BA9E-B356C8AE07A0}" srcOrd="0" destOrd="0" presId="urn:microsoft.com/office/officeart/2005/8/layout/hProcess11"/>
    <dgm:cxn modelId="{CC7C64EE-A411-4CCE-A462-FD3A110C70D7}" type="presParOf" srcId="{835D7BB1-3077-41C5-9629-E7865D0CEDE9}" destId="{4E1125CA-FDEB-4FB5-ABB7-02CEF22CB57C}" srcOrd="1" destOrd="0" presId="urn:microsoft.com/office/officeart/2005/8/layout/hProcess11"/>
    <dgm:cxn modelId="{D3389CCD-C244-4D75-8621-65D0FECD1CA4}" type="presParOf" srcId="{835D7BB1-3077-41C5-9629-E7865D0CEDE9}" destId="{FDBB26C1-42BC-4241-ABC3-5444FE8F7E30}" srcOrd="2" destOrd="0" presId="urn:microsoft.com/office/officeart/2005/8/layout/hProcess11"/>
    <dgm:cxn modelId="{F200960C-1E58-4D53-BFC6-F6D1B89F4D03}" type="presParOf" srcId="{FF4FE989-D629-42A0-B67B-BAE4EB802694}" destId="{818C8674-5F4D-4E49-9DB7-B02BB7A85EFD}" srcOrd="7" destOrd="0" presId="urn:microsoft.com/office/officeart/2005/8/layout/hProcess11"/>
    <dgm:cxn modelId="{692D22EB-7BAE-4051-BADC-38790D23DE11}" type="presParOf" srcId="{FF4FE989-D629-42A0-B67B-BAE4EB802694}" destId="{61F65DDE-ECB4-4298-93D2-5CBE793439EF}" srcOrd="8" destOrd="0" presId="urn:microsoft.com/office/officeart/2005/8/layout/hProcess11"/>
    <dgm:cxn modelId="{69C40D1D-A078-48EB-A830-4294B27D1BB5}" type="presParOf" srcId="{61F65DDE-ECB4-4298-93D2-5CBE793439EF}" destId="{83ACDBEA-5FE7-4211-9C93-ADF43A6710B2}" srcOrd="0" destOrd="0" presId="urn:microsoft.com/office/officeart/2005/8/layout/hProcess11"/>
    <dgm:cxn modelId="{1711AF51-63BB-428A-943F-34C23212398F}" type="presParOf" srcId="{61F65DDE-ECB4-4298-93D2-5CBE793439EF}" destId="{BD20204A-D57A-4B8E-A0E1-766C84A9EBE7}" srcOrd="1" destOrd="0" presId="urn:microsoft.com/office/officeart/2005/8/layout/hProcess11"/>
    <dgm:cxn modelId="{93F45899-85A0-494A-BA2D-819592E5DD67}" type="presParOf" srcId="{61F65DDE-ECB4-4298-93D2-5CBE793439EF}" destId="{6DAB40E8-8788-4DA1-83B5-6351047748D2}" srcOrd="2" destOrd="0" presId="urn:microsoft.com/office/officeart/2005/8/layout/hProcess11"/>
    <dgm:cxn modelId="{DBFD99D3-32C9-4C30-B34E-D469B993D9C2}" type="presParOf" srcId="{FF4FE989-D629-42A0-B67B-BAE4EB802694}" destId="{1A81BAFB-5613-4F48-9966-BBF1FB682ED3}" srcOrd="9" destOrd="0" presId="urn:microsoft.com/office/officeart/2005/8/layout/hProcess11"/>
    <dgm:cxn modelId="{BF2C2F38-D4AE-4DF8-83B1-E4E7C80673E2}" type="presParOf" srcId="{FF4FE989-D629-42A0-B67B-BAE4EB802694}" destId="{BFB928BC-D624-4445-B97B-014FFF5B649E}" srcOrd="10" destOrd="0" presId="urn:microsoft.com/office/officeart/2005/8/layout/hProcess11"/>
    <dgm:cxn modelId="{2E2DD306-0305-4D5F-97D7-27234CA4CF3A}" type="presParOf" srcId="{BFB928BC-D624-4445-B97B-014FFF5B649E}" destId="{37B24AAA-CCB1-4E53-B858-D971FDFBB12C}" srcOrd="0" destOrd="0" presId="urn:microsoft.com/office/officeart/2005/8/layout/hProcess11"/>
    <dgm:cxn modelId="{BF7DCD0D-C925-48DA-A0AB-69EDD67FD958}" type="presParOf" srcId="{BFB928BC-D624-4445-B97B-014FFF5B649E}" destId="{736F0572-A701-4688-90E4-A45AD1C5A7B0}" srcOrd="1" destOrd="0" presId="urn:microsoft.com/office/officeart/2005/8/layout/hProcess11"/>
    <dgm:cxn modelId="{BCA9F242-DE00-4AF7-B47B-67FEE356A668}" type="presParOf" srcId="{BFB928BC-D624-4445-B97B-014FFF5B649E}" destId="{F3CDAE68-D35D-4F6A-8EC3-C2FC3AECD857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38551E6-924D-4542-BBEA-2FE3D24A74FF}" type="doc">
      <dgm:prSet loTypeId="urn:microsoft.com/office/officeart/2008/layout/Hexagon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65FA811-4CBA-4576-B987-42FF3A097589}">
      <dgm:prSet phldrT="[Text]"/>
      <dgm:spPr/>
      <dgm:t>
        <a:bodyPr/>
        <a:lstStyle/>
        <a:p>
          <a:r>
            <a:rPr lang="en-US" dirty="0" smtClean="0"/>
            <a:t>Vendors</a:t>
          </a:r>
          <a:endParaRPr lang="en-US" dirty="0"/>
        </a:p>
      </dgm:t>
    </dgm:pt>
    <dgm:pt modelId="{B7798694-EFD3-44CB-96AE-1A88E3920056}" type="parTrans" cxnId="{6202306B-D148-46ED-AF56-AF7FB90A5057}">
      <dgm:prSet/>
      <dgm:spPr/>
      <dgm:t>
        <a:bodyPr/>
        <a:lstStyle/>
        <a:p>
          <a:endParaRPr lang="en-US"/>
        </a:p>
      </dgm:t>
    </dgm:pt>
    <dgm:pt modelId="{3CE7C128-E6D0-46C6-A530-3D29969787B4}" type="sibTrans" cxnId="{6202306B-D148-46ED-AF56-AF7FB90A5057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</dgm:spPr>
      <dgm:t>
        <a:bodyPr/>
        <a:lstStyle/>
        <a:p>
          <a:endParaRPr lang="en-US"/>
        </a:p>
      </dgm:t>
    </dgm:pt>
    <dgm:pt modelId="{2A0BD802-6DD3-4B4D-83F9-70510802233E}">
      <dgm:prSet phldrT="[Text]"/>
      <dgm:spPr/>
      <dgm:t>
        <a:bodyPr/>
        <a:lstStyle/>
        <a:p>
          <a:r>
            <a:rPr lang="en-US" dirty="0" smtClean="0"/>
            <a:t>Policy</a:t>
          </a:r>
          <a:endParaRPr lang="en-US" dirty="0"/>
        </a:p>
      </dgm:t>
    </dgm:pt>
    <dgm:pt modelId="{5D9814E9-C3F8-4A01-95A6-A2AB34DC24FD}" type="parTrans" cxnId="{C4E0F38C-8E1B-47AA-AF0F-DD9C325DD4D1}">
      <dgm:prSet/>
      <dgm:spPr/>
      <dgm:t>
        <a:bodyPr/>
        <a:lstStyle/>
        <a:p>
          <a:endParaRPr lang="en-US"/>
        </a:p>
      </dgm:t>
    </dgm:pt>
    <dgm:pt modelId="{338134BB-DCF6-46B6-B719-1F966C4CE0FC}" type="sibTrans" cxnId="{C4E0F38C-8E1B-47AA-AF0F-DD9C325DD4D1}">
      <dgm:prSet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2000" r="-32000"/>
          </a:stretch>
        </a:blipFill>
      </dgm:spPr>
      <dgm:t>
        <a:bodyPr/>
        <a:lstStyle/>
        <a:p>
          <a:endParaRPr lang="en-US"/>
        </a:p>
      </dgm:t>
    </dgm:pt>
    <dgm:pt modelId="{783E5710-CE29-4CD9-893C-A496B061C8AA}">
      <dgm:prSet phldrT="[Text]"/>
      <dgm:spPr/>
      <dgm:t>
        <a:bodyPr/>
        <a:lstStyle/>
        <a:p>
          <a:r>
            <a:rPr lang="en-US" dirty="0" smtClean="0"/>
            <a:t>Regulatory</a:t>
          </a:r>
          <a:endParaRPr lang="en-US" dirty="0"/>
        </a:p>
      </dgm:t>
    </dgm:pt>
    <dgm:pt modelId="{8F4D60CD-880F-4778-8B4F-05098890471B}" type="parTrans" cxnId="{5BACBCEF-1072-4AAC-A112-718665DA9F38}">
      <dgm:prSet/>
      <dgm:spPr/>
      <dgm:t>
        <a:bodyPr/>
        <a:lstStyle/>
        <a:p>
          <a:endParaRPr lang="en-US"/>
        </a:p>
      </dgm:t>
    </dgm:pt>
    <dgm:pt modelId="{867A4C9E-59CE-4B8D-9265-E7F3737D9A7D}" type="sibTrans" cxnId="{5BACBCEF-1072-4AAC-A112-718665DA9F38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en-US"/>
        </a:p>
      </dgm:t>
    </dgm:pt>
    <dgm:pt modelId="{212BEE39-D341-40AB-BF72-48C75484C028}">
      <dgm:prSet phldrT="[Text]"/>
      <dgm:spPr/>
      <dgm:t>
        <a:bodyPr/>
        <a:lstStyle/>
        <a:p>
          <a:r>
            <a:rPr lang="en-US" dirty="0" smtClean="0"/>
            <a:t>Customers</a:t>
          </a:r>
          <a:endParaRPr lang="en-US" dirty="0"/>
        </a:p>
      </dgm:t>
    </dgm:pt>
    <dgm:pt modelId="{9A90922B-0832-42B4-A818-13D22526B565}" type="parTrans" cxnId="{849CD704-5C77-412A-A1DF-554C7135B958}">
      <dgm:prSet/>
      <dgm:spPr/>
      <dgm:t>
        <a:bodyPr/>
        <a:lstStyle/>
        <a:p>
          <a:endParaRPr lang="en-US"/>
        </a:p>
      </dgm:t>
    </dgm:pt>
    <dgm:pt modelId="{597C7E3E-D17B-4267-BA45-DD6347E155FC}" type="sibTrans" cxnId="{849CD704-5C77-412A-A1DF-554C7135B958}">
      <dgm:prSet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</dgm:spPr>
      <dgm:t>
        <a:bodyPr/>
        <a:lstStyle/>
        <a:p>
          <a:endParaRPr lang="en-US"/>
        </a:p>
      </dgm:t>
    </dgm:pt>
    <dgm:pt modelId="{BBBA318E-7F99-4919-92F5-BD7C826C1656}" type="pres">
      <dgm:prSet presAssocID="{138551E6-924D-4542-BBEA-2FE3D24A74FF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en-US"/>
        </a:p>
      </dgm:t>
    </dgm:pt>
    <dgm:pt modelId="{E6CB0AAD-1CB3-4E5B-A069-2079C0308357}" type="pres">
      <dgm:prSet presAssocID="{B65FA811-4CBA-4576-B987-42FF3A097589}" presName="text1" presStyleCnt="0"/>
      <dgm:spPr/>
    </dgm:pt>
    <dgm:pt modelId="{BF7695B5-6C8A-40B4-B881-D30350100FEF}" type="pres">
      <dgm:prSet presAssocID="{B65FA811-4CBA-4576-B987-42FF3A097589}" presName="textRepeatNode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93E409-B1F0-4DEB-932F-92D1A0A04DED}" type="pres">
      <dgm:prSet presAssocID="{B65FA811-4CBA-4576-B987-42FF3A097589}" presName="textaccent1" presStyleCnt="0"/>
      <dgm:spPr/>
    </dgm:pt>
    <dgm:pt modelId="{F08B6B3C-0518-42DC-90B9-DC101369F1AF}" type="pres">
      <dgm:prSet presAssocID="{B65FA811-4CBA-4576-B987-42FF3A097589}" presName="accentRepeatNode" presStyleLbl="solidAlignAcc1" presStyleIdx="0" presStyleCnt="8"/>
      <dgm:spPr/>
    </dgm:pt>
    <dgm:pt modelId="{60E096D7-F0DD-4310-AB15-BF4C0B954B03}" type="pres">
      <dgm:prSet presAssocID="{3CE7C128-E6D0-46C6-A530-3D29969787B4}" presName="image1" presStyleCnt="0"/>
      <dgm:spPr/>
    </dgm:pt>
    <dgm:pt modelId="{4A1CA11C-6872-426C-AF6D-E6270C0CEEDE}" type="pres">
      <dgm:prSet presAssocID="{3CE7C128-E6D0-46C6-A530-3D29969787B4}" presName="imageRepeatNode" presStyleLbl="alignAcc1" presStyleIdx="0" presStyleCnt="4"/>
      <dgm:spPr/>
      <dgm:t>
        <a:bodyPr/>
        <a:lstStyle/>
        <a:p>
          <a:endParaRPr lang="en-US"/>
        </a:p>
      </dgm:t>
    </dgm:pt>
    <dgm:pt modelId="{AF0B8976-5949-489E-AD3A-F828B6A7E1E0}" type="pres">
      <dgm:prSet presAssocID="{3CE7C128-E6D0-46C6-A530-3D29969787B4}" presName="imageaccent1" presStyleCnt="0"/>
      <dgm:spPr/>
    </dgm:pt>
    <dgm:pt modelId="{063605A8-DF3D-4FDF-941C-5C0EE97139CC}" type="pres">
      <dgm:prSet presAssocID="{3CE7C128-E6D0-46C6-A530-3D29969787B4}" presName="accentRepeatNode" presStyleLbl="solidAlignAcc1" presStyleIdx="1" presStyleCnt="8"/>
      <dgm:spPr/>
    </dgm:pt>
    <dgm:pt modelId="{21D51880-BBC7-4559-B2A8-5742AF209A79}" type="pres">
      <dgm:prSet presAssocID="{2A0BD802-6DD3-4B4D-83F9-70510802233E}" presName="text2" presStyleCnt="0"/>
      <dgm:spPr/>
    </dgm:pt>
    <dgm:pt modelId="{7BA8DCF3-28C8-4F2E-AC03-FADFBABCF007}" type="pres">
      <dgm:prSet presAssocID="{2A0BD802-6DD3-4B4D-83F9-70510802233E}" presName="textRepeatNode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E50545-D001-43E5-9D3D-E6882D0CFAAD}" type="pres">
      <dgm:prSet presAssocID="{2A0BD802-6DD3-4B4D-83F9-70510802233E}" presName="textaccent2" presStyleCnt="0"/>
      <dgm:spPr/>
    </dgm:pt>
    <dgm:pt modelId="{681AE8C9-F3FC-4462-8158-8ED05AA15935}" type="pres">
      <dgm:prSet presAssocID="{2A0BD802-6DD3-4B4D-83F9-70510802233E}" presName="accentRepeatNode" presStyleLbl="solidAlignAcc1" presStyleIdx="2" presStyleCnt="8"/>
      <dgm:spPr/>
    </dgm:pt>
    <dgm:pt modelId="{2B5C5E53-A82C-4862-BD8D-46C22FF972AD}" type="pres">
      <dgm:prSet presAssocID="{338134BB-DCF6-46B6-B719-1F966C4CE0FC}" presName="image2" presStyleCnt="0"/>
      <dgm:spPr/>
    </dgm:pt>
    <dgm:pt modelId="{5EA46944-6F21-45E6-B233-14D636AF193B}" type="pres">
      <dgm:prSet presAssocID="{338134BB-DCF6-46B6-B719-1F966C4CE0FC}" presName="imageRepeatNode" presStyleLbl="alignAcc1" presStyleIdx="1" presStyleCnt="4"/>
      <dgm:spPr/>
      <dgm:t>
        <a:bodyPr/>
        <a:lstStyle/>
        <a:p>
          <a:endParaRPr lang="en-US"/>
        </a:p>
      </dgm:t>
    </dgm:pt>
    <dgm:pt modelId="{860A990F-D3C4-4C01-A94B-331499D7556C}" type="pres">
      <dgm:prSet presAssocID="{338134BB-DCF6-46B6-B719-1F966C4CE0FC}" presName="imageaccent2" presStyleCnt="0"/>
      <dgm:spPr/>
    </dgm:pt>
    <dgm:pt modelId="{636F6872-35DC-476B-87DA-495A52E8E901}" type="pres">
      <dgm:prSet presAssocID="{338134BB-DCF6-46B6-B719-1F966C4CE0FC}" presName="accentRepeatNode" presStyleLbl="solidAlignAcc1" presStyleIdx="3" presStyleCnt="8"/>
      <dgm:spPr/>
    </dgm:pt>
    <dgm:pt modelId="{56FFEB7E-B960-44D5-BB30-328902B58752}" type="pres">
      <dgm:prSet presAssocID="{783E5710-CE29-4CD9-893C-A496B061C8AA}" presName="text3" presStyleCnt="0"/>
      <dgm:spPr/>
    </dgm:pt>
    <dgm:pt modelId="{04938E99-E1D0-4DC6-B7D6-3B09DEADF039}" type="pres">
      <dgm:prSet presAssocID="{783E5710-CE29-4CD9-893C-A496B061C8AA}" presName="textRepeatNode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EDA42C-9A70-412D-A334-13DC0EC38C76}" type="pres">
      <dgm:prSet presAssocID="{783E5710-CE29-4CD9-893C-A496B061C8AA}" presName="textaccent3" presStyleCnt="0"/>
      <dgm:spPr/>
    </dgm:pt>
    <dgm:pt modelId="{1779F616-E6F6-4C89-9499-31C7B8771915}" type="pres">
      <dgm:prSet presAssocID="{783E5710-CE29-4CD9-893C-A496B061C8AA}" presName="accentRepeatNode" presStyleLbl="solidAlignAcc1" presStyleIdx="4" presStyleCnt="8"/>
      <dgm:spPr/>
    </dgm:pt>
    <dgm:pt modelId="{87B45CB3-4B12-4321-81EA-D963C85A6EDB}" type="pres">
      <dgm:prSet presAssocID="{867A4C9E-59CE-4B8D-9265-E7F3737D9A7D}" presName="image3" presStyleCnt="0"/>
      <dgm:spPr/>
    </dgm:pt>
    <dgm:pt modelId="{7AA2D466-3D40-490D-AB06-F89057B681E5}" type="pres">
      <dgm:prSet presAssocID="{867A4C9E-59CE-4B8D-9265-E7F3737D9A7D}" presName="imageRepeatNode" presStyleLbl="alignAcc1" presStyleIdx="2" presStyleCnt="4"/>
      <dgm:spPr/>
      <dgm:t>
        <a:bodyPr/>
        <a:lstStyle/>
        <a:p>
          <a:endParaRPr lang="en-US"/>
        </a:p>
      </dgm:t>
    </dgm:pt>
    <dgm:pt modelId="{63183BCB-581A-4A58-9B87-2053FF044FEA}" type="pres">
      <dgm:prSet presAssocID="{867A4C9E-59CE-4B8D-9265-E7F3737D9A7D}" presName="imageaccent3" presStyleCnt="0"/>
      <dgm:spPr/>
    </dgm:pt>
    <dgm:pt modelId="{B47DF0E6-3D00-4BB7-982A-CFA5D8DD6145}" type="pres">
      <dgm:prSet presAssocID="{867A4C9E-59CE-4B8D-9265-E7F3737D9A7D}" presName="accentRepeatNode" presStyleLbl="solidAlignAcc1" presStyleIdx="5" presStyleCnt="8"/>
      <dgm:spPr/>
    </dgm:pt>
    <dgm:pt modelId="{D8E9B8B1-CE8A-4B09-A2E8-EE6EADFFEDCB}" type="pres">
      <dgm:prSet presAssocID="{212BEE39-D341-40AB-BF72-48C75484C028}" presName="text4" presStyleCnt="0"/>
      <dgm:spPr/>
    </dgm:pt>
    <dgm:pt modelId="{B8D3B6C8-CC01-442A-9193-E2EAC8E25A5D}" type="pres">
      <dgm:prSet presAssocID="{212BEE39-D341-40AB-BF72-48C75484C028}" presName="textRepeatNode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0E1720-5013-4149-B22B-E31826071E4B}" type="pres">
      <dgm:prSet presAssocID="{212BEE39-D341-40AB-BF72-48C75484C028}" presName="textaccent4" presStyleCnt="0"/>
      <dgm:spPr/>
    </dgm:pt>
    <dgm:pt modelId="{037A2D08-F4EC-4EAD-A580-1BB20C7EF420}" type="pres">
      <dgm:prSet presAssocID="{212BEE39-D341-40AB-BF72-48C75484C028}" presName="accentRepeatNode" presStyleLbl="solidAlignAcc1" presStyleIdx="6" presStyleCnt="8"/>
      <dgm:spPr/>
    </dgm:pt>
    <dgm:pt modelId="{733FC24D-B3CD-426D-B456-1AB06FC8E303}" type="pres">
      <dgm:prSet presAssocID="{597C7E3E-D17B-4267-BA45-DD6347E155FC}" presName="image4" presStyleCnt="0"/>
      <dgm:spPr/>
    </dgm:pt>
    <dgm:pt modelId="{942CEA29-5C7C-4597-BE70-D3E157CBCE62}" type="pres">
      <dgm:prSet presAssocID="{597C7E3E-D17B-4267-BA45-DD6347E155FC}" presName="imageRepeatNode" presStyleLbl="alignAcc1" presStyleIdx="3" presStyleCnt="4"/>
      <dgm:spPr/>
      <dgm:t>
        <a:bodyPr/>
        <a:lstStyle/>
        <a:p>
          <a:endParaRPr lang="en-US"/>
        </a:p>
      </dgm:t>
    </dgm:pt>
    <dgm:pt modelId="{CC100DC7-60BB-4D2A-91DE-9B9597244487}" type="pres">
      <dgm:prSet presAssocID="{597C7E3E-D17B-4267-BA45-DD6347E155FC}" presName="imageaccent4" presStyleCnt="0"/>
      <dgm:spPr/>
    </dgm:pt>
    <dgm:pt modelId="{9401A27B-6D0B-4101-A49F-FC0E55A9B020}" type="pres">
      <dgm:prSet presAssocID="{597C7E3E-D17B-4267-BA45-DD6347E155FC}" presName="accentRepeatNode" presStyleLbl="solidAlignAcc1" presStyleIdx="7" presStyleCnt="8"/>
      <dgm:spPr/>
    </dgm:pt>
  </dgm:ptLst>
  <dgm:cxnLst>
    <dgm:cxn modelId="{226F93B5-E6FE-400D-897E-68A2D5B7EFAC}" type="presOf" srcId="{597C7E3E-D17B-4267-BA45-DD6347E155FC}" destId="{942CEA29-5C7C-4597-BE70-D3E157CBCE62}" srcOrd="0" destOrd="0" presId="urn:microsoft.com/office/officeart/2008/layout/HexagonCluster"/>
    <dgm:cxn modelId="{CB5CE1E3-3D82-433C-9128-46C5B8EA52E4}" type="presOf" srcId="{138551E6-924D-4542-BBEA-2FE3D24A74FF}" destId="{BBBA318E-7F99-4919-92F5-BD7C826C1656}" srcOrd="0" destOrd="0" presId="urn:microsoft.com/office/officeart/2008/layout/HexagonCluster"/>
    <dgm:cxn modelId="{B40E26B6-4848-4674-9E0E-590BFA2E3728}" type="presOf" srcId="{2A0BD802-6DD3-4B4D-83F9-70510802233E}" destId="{7BA8DCF3-28C8-4F2E-AC03-FADFBABCF007}" srcOrd="0" destOrd="0" presId="urn:microsoft.com/office/officeart/2008/layout/HexagonCluster"/>
    <dgm:cxn modelId="{66F2DB14-AF30-4699-8F47-628006B96136}" type="presOf" srcId="{212BEE39-D341-40AB-BF72-48C75484C028}" destId="{B8D3B6C8-CC01-442A-9193-E2EAC8E25A5D}" srcOrd="0" destOrd="0" presId="urn:microsoft.com/office/officeart/2008/layout/HexagonCluster"/>
    <dgm:cxn modelId="{427614F8-7D13-4E62-9923-5A803BE2B508}" type="presOf" srcId="{783E5710-CE29-4CD9-893C-A496B061C8AA}" destId="{04938E99-E1D0-4DC6-B7D6-3B09DEADF039}" srcOrd="0" destOrd="0" presId="urn:microsoft.com/office/officeart/2008/layout/HexagonCluster"/>
    <dgm:cxn modelId="{F9915A24-8AE9-4A43-B8C3-F67A4102C375}" type="presOf" srcId="{867A4C9E-59CE-4B8D-9265-E7F3737D9A7D}" destId="{7AA2D466-3D40-490D-AB06-F89057B681E5}" srcOrd="0" destOrd="0" presId="urn:microsoft.com/office/officeart/2008/layout/HexagonCluster"/>
    <dgm:cxn modelId="{8981E56F-9C9A-4B73-AFC9-2CE5A516E8BB}" type="presOf" srcId="{3CE7C128-E6D0-46C6-A530-3D29969787B4}" destId="{4A1CA11C-6872-426C-AF6D-E6270C0CEEDE}" srcOrd="0" destOrd="0" presId="urn:microsoft.com/office/officeart/2008/layout/HexagonCluster"/>
    <dgm:cxn modelId="{95C7273F-83CB-4A62-9469-94C797A1F712}" type="presOf" srcId="{B65FA811-4CBA-4576-B987-42FF3A097589}" destId="{BF7695B5-6C8A-40B4-B881-D30350100FEF}" srcOrd="0" destOrd="0" presId="urn:microsoft.com/office/officeart/2008/layout/HexagonCluster"/>
    <dgm:cxn modelId="{849CD704-5C77-412A-A1DF-554C7135B958}" srcId="{138551E6-924D-4542-BBEA-2FE3D24A74FF}" destId="{212BEE39-D341-40AB-BF72-48C75484C028}" srcOrd="3" destOrd="0" parTransId="{9A90922B-0832-42B4-A818-13D22526B565}" sibTransId="{597C7E3E-D17B-4267-BA45-DD6347E155FC}"/>
    <dgm:cxn modelId="{6202306B-D148-46ED-AF56-AF7FB90A5057}" srcId="{138551E6-924D-4542-BBEA-2FE3D24A74FF}" destId="{B65FA811-4CBA-4576-B987-42FF3A097589}" srcOrd="0" destOrd="0" parTransId="{B7798694-EFD3-44CB-96AE-1A88E3920056}" sibTransId="{3CE7C128-E6D0-46C6-A530-3D29969787B4}"/>
    <dgm:cxn modelId="{C4E0F38C-8E1B-47AA-AF0F-DD9C325DD4D1}" srcId="{138551E6-924D-4542-BBEA-2FE3D24A74FF}" destId="{2A0BD802-6DD3-4B4D-83F9-70510802233E}" srcOrd="1" destOrd="0" parTransId="{5D9814E9-C3F8-4A01-95A6-A2AB34DC24FD}" sibTransId="{338134BB-DCF6-46B6-B719-1F966C4CE0FC}"/>
    <dgm:cxn modelId="{5BACBCEF-1072-4AAC-A112-718665DA9F38}" srcId="{138551E6-924D-4542-BBEA-2FE3D24A74FF}" destId="{783E5710-CE29-4CD9-893C-A496B061C8AA}" srcOrd="2" destOrd="0" parTransId="{8F4D60CD-880F-4778-8B4F-05098890471B}" sibTransId="{867A4C9E-59CE-4B8D-9265-E7F3737D9A7D}"/>
    <dgm:cxn modelId="{7418F3D4-1AC9-47D7-99E5-F73884EBB0FA}" type="presOf" srcId="{338134BB-DCF6-46B6-B719-1F966C4CE0FC}" destId="{5EA46944-6F21-45E6-B233-14D636AF193B}" srcOrd="0" destOrd="0" presId="urn:microsoft.com/office/officeart/2008/layout/HexagonCluster"/>
    <dgm:cxn modelId="{B9B0B6AB-5FCF-43F4-A7C5-8B5E2EF748BF}" type="presParOf" srcId="{BBBA318E-7F99-4919-92F5-BD7C826C1656}" destId="{E6CB0AAD-1CB3-4E5B-A069-2079C0308357}" srcOrd="0" destOrd="0" presId="urn:microsoft.com/office/officeart/2008/layout/HexagonCluster"/>
    <dgm:cxn modelId="{4F3A90F4-3C2D-42F1-9BAB-5649D964A890}" type="presParOf" srcId="{E6CB0AAD-1CB3-4E5B-A069-2079C0308357}" destId="{BF7695B5-6C8A-40B4-B881-D30350100FEF}" srcOrd="0" destOrd="0" presId="urn:microsoft.com/office/officeart/2008/layout/HexagonCluster"/>
    <dgm:cxn modelId="{75CD183D-A5F7-4D4D-A446-7303B247D3D4}" type="presParOf" srcId="{BBBA318E-7F99-4919-92F5-BD7C826C1656}" destId="{B593E409-B1F0-4DEB-932F-92D1A0A04DED}" srcOrd="1" destOrd="0" presId="urn:microsoft.com/office/officeart/2008/layout/HexagonCluster"/>
    <dgm:cxn modelId="{98080773-914F-4686-9917-D39AD50ABBFE}" type="presParOf" srcId="{B593E409-B1F0-4DEB-932F-92D1A0A04DED}" destId="{F08B6B3C-0518-42DC-90B9-DC101369F1AF}" srcOrd="0" destOrd="0" presId="urn:microsoft.com/office/officeart/2008/layout/HexagonCluster"/>
    <dgm:cxn modelId="{7DF46704-7A8A-436B-8EB1-4B714578F146}" type="presParOf" srcId="{BBBA318E-7F99-4919-92F5-BD7C826C1656}" destId="{60E096D7-F0DD-4310-AB15-BF4C0B954B03}" srcOrd="2" destOrd="0" presId="urn:microsoft.com/office/officeart/2008/layout/HexagonCluster"/>
    <dgm:cxn modelId="{58E58AF4-4A47-484E-9606-9240956B75CD}" type="presParOf" srcId="{60E096D7-F0DD-4310-AB15-BF4C0B954B03}" destId="{4A1CA11C-6872-426C-AF6D-E6270C0CEEDE}" srcOrd="0" destOrd="0" presId="urn:microsoft.com/office/officeart/2008/layout/HexagonCluster"/>
    <dgm:cxn modelId="{04E606BB-929A-49EF-B4DA-0706CD4B00C6}" type="presParOf" srcId="{BBBA318E-7F99-4919-92F5-BD7C826C1656}" destId="{AF0B8976-5949-489E-AD3A-F828B6A7E1E0}" srcOrd="3" destOrd="0" presId="urn:microsoft.com/office/officeart/2008/layout/HexagonCluster"/>
    <dgm:cxn modelId="{8AE708E4-2686-4518-AAA9-43DCFEF20D6E}" type="presParOf" srcId="{AF0B8976-5949-489E-AD3A-F828B6A7E1E0}" destId="{063605A8-DF3D-4FDF-941C-5C0EE97139CC}" srcOrd="0" destOrd="0" presId="urn:microsoft.com/office/officeart/2008/layout/HexagonCluster"/>
    <dgm:cxn modelId="{BFF05B0E-9142-425A-AB4B-CB766B567CE4}" type="presParOf" srcId="{BBBA318E-7F99-4919-92F5-BD7C826C1656}" destId="{21D51880-BBC7-4559-B2A8-5742AF209A79}" srcOrd="4" destOrd="0" presId="urn:microsoft.com/office/officeart/2008/layout/HexagonCluster"/>
    <dgm:cxn modelId="{C564DD8E-10D3-4BCC-B7B1-AF37FEB100E3}" type="presParOf" srcId="{21D51880-BBC7-4559-B2A8-5742AF209A79}" destId="{7BA8DCF3-28C8-4F2E-AC03-FADFBABCF007}" srcOrd="0" destOrd="0" presId="urn:microsoft.com/office/officeart/2008/layout/HexagonCluster"/>
    <dgm:cxn modelId="{D0FD3CE7-AA68-46E1-8964-6B693E7A1896}" type="presParOf" srcId="{BBBA318E-7F99-4919-92F5-BD7C826C1656}" destId="{B3E50545-D001-43E5-9D3D-E6882D0CFAAD}" srcOrd="5" destOrd="0" presId="urn:microsoft.com/office/officeart/2008/layout/HexagonCluster"/>
    <dgm:cxn modelId="{B86A791D-3E11-4C02-834D-6A4F961580B0}" type="presParOf" srcId="{B3E50545-D001-43E5-9D3D-E6882D0CFAAD}" destId="{681AE8C9-F3FC-4462-8158-8ED05AA15935}" srcOrd="0" destOrd="0" presId="urn:microsoft.com/office/officeart/2008/layout/HexagonCluster"/>
    <dgm:cxn modelId="{2444BD30-FB20-4188-8527-C8E81C8AF22A}" type="presParOf" srcId="{BBBA318E-7F99-4919-92F5-BD7C826C1656}" destId="{2B5C5E53-A82C-4862-BD8D-46C22FF972AD}" srcOrd="6" destOrd="0" presId="urn:microsoft.com/office/officeart/2008/layout/HexagonCluster"/>
    <dgm:cxn modelId="{46D06A65-7B4F-4336-82AC-51CC8FF21453}" type="presParOf" srcId="{2B5C5E53-A82C-4862-BD8D-46C22FF972AD}" destId="{5EA46944-6F21-45E6-B233-14D636AF193B}" srcOrd="0" destOrd="0" presId="urn:microsoft.com/office/officeart/2008/layout/HexagonCluster"/>
    <dgm:cxn modelId="{002C9E30-0D9D-489F-8C1D-BD0C57C42262}" type="presParOf" srcId="{BBBA318E-7F99-4919-92F5-BD7C826C1656}" destId="{860A990F-D3C4-4C01-A94B-331499D7556C}" srcOrd="7" destOrd="0" presId="urn:microsoft.com/office/officeart/2008/layout/HexagonCluster"/>
    <dgm:cxn modelId="{94AA51C4-27D9-401F-88D1-123252C9672B}" type="presParOf" srcId="{860A990F-D3C4-4C01-A94B-331499D7556C}" destId="{636F6872-35DC-476B-87DA-495A52E8E901}" srcOrd="0" destOrd="0" presId="urn:microsoft.com/office/officeart/2008/layout/HexagonCluster"/>
    <dgm:cxn modelId="{389A103B-133A-4EAB-A9ED-DC8B072F23BC}" type="presParOf" srcId="{BBBA318E-7F99-4919-92F5-BD7C826C1656}" destId="{56FFEB7E-B960-44D5-BB30-328902B58752}" srcOrd="8" destOrd="0" presId="urn:microsoft.com/office/officeart/2008/layout/HexagonCluster"/>
    <dgm:cxn modelId="{AD5E11EB-46CF-45E4-B1CB-3F036B5BDF89}" type="presParOf" srcId="{56FFEB7E-B960-44D5-BB30-328902B58752}" destId="{04938E99-E1D0-4DC6-B7D6-3B09DEADF039}" srcOrd="0" destOrd="0" presId="urn:microsoft.com/office/officeart/2008/layout/HexagonCluster"/>
    <dgm:cxn modelId="{4C6B9DE7-2505-49A2-968D-1CF4C81ADD6D}" type="presParOf" srcId="{BBBA318E-7F99-4919-92F5-BD7C826C1656}" destId="{97EDA42C-9A70-412D-A334-13DC0EC38C76}" srcOrd="9" destOrd="0" presId="urn:microsoft.com/office/officeart/2008/layout/HexagonCluster"/>
    <dgm:cxn modelId="{52A87B91-3595-4F50-B786-590E206EE3CD}" type="presParOf" srcId="{97EDA42C-9A70-412D-A334-13DC0EC38C76}" destId="{1779F616-E6F6-4C89-9499-31C7B8771915}" srcOrd="0" destOrd="0" presId="urn:microsoft.com/office/officeart/2008/layout/HexagonCluster"/>
    <dgm:cxn modelId="{4759DA17-A66F-4C84-8B4A-2FEB7EFD00CD}" type="presParOf" srcId="{BBBA318E-7F99-4919-92F5-BD7C826C1656}" destId="{87B45CB3-4B12-4321-81EA-D963C85A6EDB}" srcOrd="10" destOrd="0" presId="urn:microsoft.com/office/officeart/2008/layout/HexagonCluster"/>
    <dgm:cxn modelId="{1007C0C8-EA85-4F13-BC78-926A4A252AD7}" type="presParOf" srcId="{87B45CB3-4B12-4321-81EA-D963C85A6EDB}" destId="{7AA2D466-3D40-490D-AB06-F89057B681E5}" srcOrd="0" destOrd="0" presId="urn:microsoft.com/office/officeart/2008/layout/HexagonCluster"/>
    <dgm:cxn modelId="{97149DC1-7528-46C5-83F0-5C07CA7E06E3}" type="presParOf" srcId="{BBBA318E-7F99-4919-92F5-BD7C826C1656}" destId="{63183BCB-581A-4A58-9B87-2053FF044FEA}" srcOrd="11" destOrd="0" presId="urn:microsoft.com/office/officeart/2008/layout/HexagonCluster"/>
    <dgm:cxn modelId="{85C2E184-3739-4DB3-AA56-B8D8842CC3A7}" type="presParOf" srcId="{63183BCB-581A-4A58-9B87-2053FF044FEA}" destId="{B47DF0E6-3D00-4BB7-982A-CFA5D8DD6145}" srcOrd="0" destOrd="0" presId="urn:microsoft.com/office/officeart/2008/layout/HexagonCluster"/>
    <dgm:cxn modelId="{2D9E8B5A-AFA8-41C8-B4CB-9EF8F3F78166}" type="presParOf" srcId="{BBBA318E-7F99-4919-92F5-BD7C826C1656}" destId="{D8E9B8B1-CE8A-4B09-A2E8-EE6EADFFEDCB}" srcOrd="12" destOrd="0" presId="urn:microsoft.com/office/officeart/2008/layout/HexagonCluster"/>
    <dgm:cxn modelId="{36CB6F1C-70B4-45C8-AA8C-14F2B7B24C10}" type="presParOf" srcId="{D8E9B8B1-CE8A-4B09-A2E8-EE6EADFFEDCB}" destId="{B8D3B6C8-CC01-442A-9193-E2EAC8E25A5D}" srcOrd="0" destOrd="0" presId="urn:microsoft.com/office/officeart/2008/layout/HexagonCluster"/>
    <dgm:cxn modelId="{6A1EE4DF-17EE-4D13-BFE1-F22BA1903539}" type="presParOf" srcId="{BBBA318E-7F99-4919-92F5-BD7C826C1656}" destId="{170E1720-5013-4149-B22B-E31826071E4B}" srcOrd="13" destOrd="0" presId="urn:microsoft.com/office/officeart/2008/layout/HexagonCluster"/>
    <dgm:cxn modelId="{F5CB541A-FFD3-4AA1-A533-1903AB066B8B}" type="presParOf" srcId="{170E1720-5013-4149-B22B-E31826071E4B}" destId="{037A2D08-F4EC-4EAD-A580-1BB20C7EF420}" srcOrd="0" destOrd="0" presId="urn:microsoft.com/office/officeart/2008/layout/HexagonCluster"/>
    <dgm:cxn modelId="{492F7F43-6309-43B3-B04F-4C05F72A948F}" type="presParOf" srcId="{BBBA318E-7F99-4919-92F5-BD7C826C1656}" destId="{733FC24D-B3CD-426D-B456-1AB06FC8E303}" srcOrd="14" destOrd="0" presId="urn:microsoft.com/office/officeart/2008/layout/HexagonCluster"/>
    <dgm:cxn modelId="{E6A37AA1-C438-4743-91F4-5C9031355973}" type="presParOf" srcId="{733FC24D-B3CD-426D-B456-1AB06FC8E303}" destId="{942CEA29-5C7C-4597-BE70-D3E157CBCE62}" srcOrd="0" destOrd="0" presId="urn:microsoft.com/office/officeart/2008/layout/HexagonCluster"/>
    <dgm:cxn modelId="{2FC7AF33-9AEF-4133-B997-2F2A849E599D}" type="presParOf" srcId="{BBBA318E-7F99-4919-92F5-BD7C826C1656}" destId="{CC100DC7-60BB-4D2A-91DE-9B9597244487}" srcOrd="15" destOrd="0" presId="urn:microsoft.com/office/officeart/2008/layout/HexagonCluster"/>
    <dgm:cxn modelId="{611CECCA-156F-43D0-9EAD-A371E3D592DE}" type="presParOf" srcId="{CC100DC7-60BB-4D2A-91DE-9B9597244487}" destId="{9401A27B-6D0B-4101-A49F-FC0E55A9B020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1" y="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300"/>
            </a:lvl1pPr>
          </a:lstStyle>
          <a:p>
            <a:fld id="{04F009EE-CB79-4A10-AF54-F379EBA0330D}" type="datetimeFigureOut">
              <a:rPr lang="en-US" smtClean="0"/>
              <a:pPr/>
              <a:t>5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1" y="884203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300"/>
            </a:lvl1pPr>
          </a:lstStyle>
          <a:p>
            <a:fld id="{C407C9FE-63A5-4DDA-BDA4-2D0EC52049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5072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300"/>
            </a:lvl1pPr>
          </a:lstStyle>
          <a:p>
            <a:fld id="{FA75A6CE-42F9-4E01-AD14-17456ACECB09}" type="datetimeFigureOut">
              <a:rPr lang="en-US" smtClean="0"/>
              <a:pPr/>
              <a:t>5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4125" y="698500"/>
            <a:ext cx="45148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17" tIns="46659" rIns="93317" bIns="4665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3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927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2538" y="698500"/>
            <a:ext cx="4518025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14AB37-EC7D-4579-ADB2-72E561C26738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259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system could go if a </a:t>
            </a:r>
            <a:r>
              <a:rPr lang="en-US" dirty="0" err="1" smtClean="0"/>
              <a:t>contingnecy</a:t>
            </a:r>
            <a:r>
              <a:rPr lang="en-US" dirty="0" smtClean="0"/>
              <a:t> event</a:t>
            </a:r>
            <a:r>
              <a:rPr lang="en-US" baseline="0" dirty="0" smtClean="0"/>
              <a:t> happe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9F4A7F-5781-45FA-B87F-A47A35A6F9D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109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" y="1800"/>
          <a:ext cx="1746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" y="1800"/>
                        <a:ext cx="1746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64234" y="2534385"/>
            <a:ext cx="9131151" cy="1151085"/>
          </a:xfrm>
        </p:spPr>
        <p:txBody>
          <a:bodyPr>
            <a:noAutofit/>
          </a:bodyPr>
          <a:lstStyle>
            <a:lvl1pPr>
              <a:defRPr sz="3000">
                <a:solidFill>
                  <a:srgbClr val="4D4D4D"/>
                </a:solidFill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Gra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64234" y="3684693"/>
            <a:ext cx="9131151" cy="920867"/>
          </a:xfrm>
        </p:spPr>
        <p:txBody>
          <a:bodyPr>
            <a:noAutofit/>
          </a:bodyPr>
          <a:lstStyle>
            <a:lvl1pPr>
              <a:defRPr sz="2400" b="0">
                <a:solidFill>
                  <a:srgbClr val="4D4D4D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 (Arial 24pt, Dark Gray)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64235" y="5820785"/>
            <a:ext cx="4540625" cy="348814"/>
          </a:xfrm>
        </p:spPr>
        <p:txBody>
          <a:bodyPr anchor="ctr">
            <a:noAutofit/>
          </a:bodyPr>
          <a:lstStyle>
            <a:lvl1pPr>
              <a:defRPr sz="2000" b="0">
                <a:solidFill>
                  <a:srgbClr val="4D4D4D"/>
                </a:solidFill>
              </a:defRPr>
            </a:lvl1pPr>
          </a:lstStyle>
          <a:p>
            <a:pPr lvl="0"/>
            <a:r>
              <a:rPr lang="en-US" dirty="0" smtClean="0"/>
              <a:t>Date (Arial 20pt, dark gray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59" y="361979"/>
            <a:ext cx="4132001" cy="6034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4234" y="1610255"/>
            <a:ext cx="9131151" cy="54928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160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1813562"/>
            <a:ext cx="9052560" cy="483615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8589627" y="7167881"/>
            <a:ext cx="1005840" cy="413808"/>
          </a:xfrm>
          <a:prstGeom prst="rect">
            <a:avLst/>
          </a:prstGeom>
        </p:spPr>
        <p:txBody>
          <a:bodyPr lIns="101882" tIns="50941" rIns="101882" bIns="50941"/>
          <a:lstStyle/>
          <a:p>
            <a:fld id="{E1EBAD32-6FD2-5944-83A6-7B431C2CC530}" type="datetime1">
              <a:rPr lang="en-US" smtClean="0"/>
              <a:t>5/11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48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1272011"/>
            <a:ext cx="8549640" cy="2705947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4082310"/>
            <a:ext cx="7543800" cy="187653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5059" y="7100234"/>
            <a:ext cx="2263140" cy="315213"/>
          </a:xfrm>
          <a:prstGeom prst="rect">
            <a:avLst/>
          </a:prstGeom>
        </p:spPr>
        <p:txBody>
          <a:bodyPr/>
          <a:lstStyle/>
          <a:p>
            <a:fld id="{897A04EF-FE05-4FB1-A200-1E41E7BFE3F9}" type="datetimeFigureOut">
              <a:rPr lang="en-US" smtClean="0"/>
              <a:t>5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39315" y="6833459"/>
            <a:ext cx="3394710" cy="3152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50201" y="7100234"/>
            <a:ext cx="2263140" cy="315213"/>
          </a:xfrm>
          <a:prstGeom prst="rect">
            <a:avLst/>
          </a:prstGeom>
        </p:spPr>
        <p:txBody>
          <a:bodyPr/>
          <a:lstStyle/>
          <a:p>
            <a:fld id="{28FE263C-9D6C-41BB-94DC-8326AEA871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27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746" y="1800"/>
          <a:ext cx="1746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" y="1800"/>
                        <a:ext cx="1746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234" y="183600"/>
            <a:ext cx="9131151" cy="942480"/>
          </a:xfrm>
          <a:prstGeom prst="rect">
            <a:avLst/>
          </a:prstGeom>
        </p:spPr>
        <p:txBody>
          <a:bodyPr vert="horz" lIns="0" tIns="50941" rIns="0" bIns="50941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234" y="1610255"/>
            <a:ext cx="9131151" cy="54928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34" y="7263804"/>
            <a:ext cx="2304288" cy="336499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436938" y="7204075"/>
            <a:ext cx="3184525" cy="414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58" r:id="rId5"/>
    <p:sldLayoutId id="2147483659" r:id="rId6"/>
    <p:sldLayoutId id="214748366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18824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18824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indent="-323690" algn="l" defTabSz="1018824" rtl="0" eaLnBrk="1" latinLnBrk="0" hangingPunct="1">
        <a:spcBef>
          <a:spcPct val="20000"/>
        </a:spcBef>
        <a:buClr>
          <a:srgbClr val="292756"/>
        </a:buClr>
        <a:buFont typeface="Wingdings" pitchFamily="2" charset="2"/>
        <a:buChar char="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indent="-254706" algn="l" defTabSz="1018824" rtl="0" eaLnBrk="1" latinLnBrk="0" hangingPunct="1">
        <a:spcBef>
          <a:spcPct val="20000"/>
        </a:spcBef>
        <a:buClr>
          <a:srgbClr val="29275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indent="-260012" algn="l" defTabSz="1018824" rtl="0" eaLnBrk="1" latinLnBrk="0" hangingPunct="1">
        <a:spcBef>
          <a:spcPct val="20000"/>
        </a:spcBef>
        <a:buClr>
          <a:srgbClr val="29275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34111" indent="-256475" algn="l" defTabSz="1018824" rtl="0" eaLnBrk="1" latinLnBrk="0" hangingPunct="1">
        <a:spcBef>
          <a:spcPct val="20000"/>
        </a:spcBef>
        <a:buClr>
          <a:srgbClr val="29275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801767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1180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20592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30004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0058240" cy="62106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7747" y="65010"/>
            <a:ext cx="7430493" cy="1073426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7030A0"/>
                </a:solidFill>
              </a:rPr>
              <a:t>Hawaii’s </a:t>
            </a:r>
            <a:r>
              <a:rPr lang="en-US" sz="3200" dirty="0" smtClean="0">
                <a:solidFill>
                  <a:srgbClr val="7030A0"/>
                </a:solidFill>
              </a:rPr>
              <a:t>DER Management Initiative</a:t>
            </a:r>
            <a:r>
              <a:rPr lang="en-US" sz="3200" dirty="0">
                <a:solidFill>
                  <a:srgbClr val="7030A0"/>
                </a:solidFill>
              </a:rPr>
              <a:t/>
            </a:r>
            <a:br>
              <a:rPr lang="en-US" sz="3200" dirty="0">
                <a:solidFill>
                  <a:srgbClr val="7030A0"/>
                </a:solidFill>
              </a:rPr>
            </a:br>
            <a:r>
              <a:rPr lang="en-US" sz="2000" dirty="0">
                <a:solidFill>
                  <a:srgbClr val="7030A0"/>
                </a:solidFill>
              </a:rPr>
              <a:t>Opportunities for Customer-sited </a:t>
            </a:r>
            <a:r>
              <a:rPr lang="en-US" sz="2000" dirty="0" smtClean="0">
                <a:solidFill>
                  <a:srgbClr val="7030A0"/>
                </a:solidFill>
              </a:rPr>
              <a:t>Grid Services </a:t>
            </a:r>
            <a:r>
              <a:rPr lang="en-US" sz="2000" dirty="0">
                <a:solidFill>
                  <a:srgbClr val="7030A0"/>
                </a:solidFill>
              </a:rPr>
              <a:t>Delivery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850758" y="6330768"/>
            <a:ext cx="6207482" cy="107342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1534D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400" dirty="0" smtClean="0">
                <a:solidFill>
                  <a:srgbClr val="7030A0"/>
                </a:solidFill>
              </a:rPr>
              <a:t>Rich Barone</a:t>
            </a:r>
          </a:p>
          <a:p>
            <a:pPr algn="r"/>
            <a:r>
              <a:rPr lang="en-US" sz="1800" dirty="0" smtClean="0">
                <a:solidFill>
                  <a:srgbClr val="7030A0"/>
                </a:solidFill>
              </a:rPr>
              <a:t>Manager, Demand Response</a:t>
            </a:r>
          </a:p>
          <a:p>
            <a:pPr algn="r"/>
            <a:r>
              <a:rPr lang="en-US" sz="1800" dirty="0" smtClean="0">
                <a:solidFill>
                  <a:srgbClr val="7030A0"/>
                </a:solidFill>
              </a:rPr>
              <a:t>Hawaiian Electric</a:t>
            </a:r>
            <a:endParaRPr lang="en-US" sz="18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720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Building the Market: Aggregator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5086" y="1813562"/>
            <a:ext cx="5463314" cy="4836159"/>
          </a:xfrm>
        </p:spPr>
        <p:txBody>
          <a:bodyPr/>
          <a:lstStyle/>
          <a:p>
            <a:r>
              <a:rPr lang="en-US" dirty="0" smtClean="0"/>
              <a:t>Gaging the potential for a Grid Services marketplace</a:t>
            </a:r>
          </a:p>
          <a:p>
            <a:pPr lvl="1"/>
            <a:r>
              <a:rPr lang="en-US" dirty="0" smtClean="0"/>
              <a:t>Grid Services RFP (May 2015)</a:t>
            </a:r>
          </a:p>
          <a:p>
            <a:pPr lvl="2"/>
            <a:r>
              <a:rPr lang="en-US" dirty="0" smtClean="0"/>
              <a:t>Short-listed vendors</a:t>
            </a:r>
          </a:p>
          <a:p>
            <a:pPr lvl="2"/>
            <a:r>
              <a:rPr lang="en-US" dirty="0" smtClean="0"/>
              <a:t>Demonstration projects</a:t>
            </a:r>
          </a:p>
          <a:p>
            <a:pPr lvl="1"/>
            <a:r>
              <a:rPr lang="en-US" dirty="0" smtClean="0"/>
              <a:t>Grid Services Purchase Agreement (GSPA)</a:t>
            </a:r>
          </a:p>
          <a:p>
            <a:pPr lvl="1"/>
            <a:r>
              <a:rPr lang="en-US" dirty="0" smtClean="0"/>
              <a:t>Rolling RFPs</a:t>
            </a:r>
          </a:p>
          <a:p>
            <a:pPr lvl="1"/>
            <a:r>
              <a:rPr lang="en-US" dirty="0" smtClean="0"/>
              <a:t>Long-term</a:t>
            </a:r>
          </a:p>
          <a:p>
            <a:pPr lvl="2"/>
            <a:r>
              <a:rPr lang="en-US" dirty="0" smtClean="0"/>
              <a:t>Auction?</a:t>
            </a:r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62" y="1817831"/>
            <a:ext cx="3862021" cy="257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4239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Building the Market: </a:t>
            </a:r>
            <a:r>
              <a:rPr lang="en-US" sz="2400" dirty="0" smtClean="0"/>
              <a:t>Self-aggregator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rge customers can self-aggregate and contract directly with Hawaiian Electric</a:t>
            </a:r>
          </a:p>
          <a:p>
            <a:pPr lvl="1"/>
            <a:r>
              <a:rPr lang="en-US" dirty="0" smtClean="0"/>
              <a:t>Typically work with a Technical Coordinator</a:t>
            </a:r>
          </a:p>
          <a:p>
            <a:pPr lvl="1"/>
            <a:r>
              <a:rPr lang="en-US" dirty="0" smtClean="0"/>
              <a:t>Customers include Board of Water Supply</a:t>
            </a:r>
          </a:p>
          <a:p>
            <a:pPr lvl="1"/>
            <a:r>
              <a:rPr lang="en-US" dirty="0" smtClean="0"/>
              <a:t>Department of Defense</a:t>
            </a:r>
          </a:p>
          <a:p>
            <a:pPr lvl="1"/>
            <a:r>
              <a:rPr lang="en-US" dirty="0" smtClean="0"/>
              <a:t>Department of Education</a:t>
            </a:r>
          </a:p>
          <a:p>
            <a:pPr lvl="1"/>
            <a:r>
              <a:rPr lang="en-US" dirty="0" smtClean="0"/>
              <a:t>University of Hawaii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826" y="4516488"/>
            <a:ext cx="1187134" cy="118185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9518" y="4516488"/>
            <a:ext cx="1181858" cy="11818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157" y="4516488"/>
            <a:ext cx="1566318" cy="11818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454" y="4516488"/>
            <a:ext cx="1262236" cy="118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9800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Building the Market: </a:t>
            </a:r>
            <a:r>
              <a:rPr lang="en-US" sz="2400" dirty="0" smtClean="0"/>
              <a:t>Stakeholder Engagement</a:t>
            </a:r>
            <a:endParaRPr lang="en-US" sz="24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2191556"/>
              </p:ext>
            </p:extLst>
          </p:nvPr>
        </p:nvGraphicFramePr>
        <p:xfrm>
          <a:off x="503238" y="1812925"/>
          <a:ext cx="9051925" cy="4837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36359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urd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1813562"/>
            <a:ext cx="4802411" cy="4836159"/>
          </a:xfrm>
        </p:spPr>
        <p:txBody>
          <a:bodyPr/>
          <a:lstStyle/>
          <a:p>
            <a:r>
              <a:rPr lang="en-US" dirty="0" smtClean="0"/>
              <a:t>Internal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Operational uncertainty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Planning-operations feedback loop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Realization, verification ^ quantification of benefits</a:t>
            </a:r>
            <a:endParaRPr lang="en-US" b="0" dirty="0"/>
          </a:p>
          <a:p>
            <a:endParaRPr lang="en-US" dirty="0" smtClean="0"/>
          </a:p>
          <a:p>
            <a:r>
              <a:rPr lang="en-US" dirty="0" smtClean="0"/>
              <a:t>External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Market uncertainty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Technical Uncertainty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Proper value assignment</a:t>
            </a:r>
            <a:endParaRPr lang="en-US" b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4753" y="1813561"/>
            <a:ext cx="4117984" cy="274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84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3374"/>
            <a:ext cx="10058400" cy="7835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87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60" y="-106378"/>
            <a:ext cx="10058400" cy="1295400"/>
          </a:xfrm>
        </p:spPr>
        <p:txBody>
          <a:bodyPr>
            <a:normAutofit/>
          </a:bodyPr>
          <a:lstStyle/>
          <a:p>
            <a:r>
              <a:rPr lang="en-US" dirty="0" smtClean="0"/>
              <a:t>Renewable Energy Challenges: System Stability</a:t>
            </a:r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98" y="1594063"/>
            <a:ext cx="8175279" cy="512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4304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isk: Minimum Load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02920" y="1468121"/>
            <a:ext cx="9052560" cy="4058919"/>
          </a:xfrm>
        </p:spPr>
        <p:txBody>
          <a:bodyPr>
            <a:normAutofit/>
          </a:bodyPr>
          <a:lstStyle/>
          <a:p>
            <a:r>
              <a:rPr lang="en-US" dirty="0" smtClean="0"/>
              <a:t>PV reduces mid-day net loads</a:t>
            </a:r>
          </a:p>
          <a:p>
            <a:r>
              <a:rPr lang="en-US" dirty="0" smtClean="0"/>
              <a:t>Generators running a production minimums</a:t>
            </a:r>
          </a:p>
          <a:p>
            <a:pPr lvl="1"/>
            <a:r>
              <a:rPr lang="en-US" dirty="0" smtClean="0"/>
              <a:t>Inefficient</a:t>
            </a:r>
          </a:p>
          <a:p>
            <a:pPr lvl="1"/>
            <a:r>
              <a:rPr lang="en-US" dirty="0" smtClean="0"/>
              <a:t>Risk of tripping off </a:t>
            </a:r>
          </a:p>
          <a:p>
            <a:r>
              <a:rPr lang="en-US" dirty="0" smtClean="0"/>
              <a:t>Hidden loads create load balancing risk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6232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 Management</a:t>
            </a:r>
            <a:r>
              <a:rPr lang="en-US" dirty="0" smtClean="0"/>
              <a:t>: Load Shift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oad shifting can be event or pricing-based</a:t>
            </a:r>
          </a:p>
          <a:p>
            <a:r>
              <a:rPr lang="en-US" dirty="0" smtClean="0"/>
              <a:t>These programs can </a:t>
            </a:r>
            <a:r>
              <a:rPr lang="en-US" dirty="0"/>
              <a:t>persuade customers to increase their demand during peak times </a:t>
            </a:r>
          </a:p>
          <a:p>
            <a:pPr lvl="1"/>
            <a:r>
              <a:rPr lang="en-US" dirty="0"/>
              <a:t>Water heaters, water and waste water tanks, Storage, EV’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4976802"/>
              </p:ext>
            </p:extLst>
          </p:nvPr>
        </p:nvGraphicFramePr>
        <p:xfrm>
          <a:off x="419100" y="4577080"/>
          <a:ext cx="9052560" cy="27113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73055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isk: Increased Variation on Circui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02920" y="1777578"/>
            <a:ext cx="8801100" cy="4836159"/>
          </a:xfrm>
        </p:spPr>
        <p:txBody>
          <a:bodyPr/>
          <a:lstStyle/>
          <a:p>
            <a:r>
              <a:rPr lang="en-US" dirty="0" smtClean="0"/>
              <a:t>More PV = more variability on circuit</a:t>
            </a:r>
          </a:p>
          <a:p>
            <a:r>
              <a:rPr lang="en-US" dirty="0" smtClean="0"/>
              <a:t>Circuit variability drives the need for more Regulating Reserves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37" y="2438961"/>
            <a:ext cx="8284451" cy="4821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017520" y="7260053"/>
            <a:ext cx="5994454" cy="410654"/>
          </a:xfrm>
          <a:prstGeom prst="rect">
            <a:avLst/>
          </a:prstGeom>
          <a:noFill/>
        </p:spPr>
        <p:txBody>
          <a:bodyPr wrap="none" lIns="101882" tIns="50941" rIns="101882" bIns="50941" rtlCol="0">
            <a:spAutoFit/>
          </a:bodyPr>
          <a:lstStyle/>
          <a:p>
            <a:r>
              <a:rPr lang="en-US" dirty="0" smtClean="0"/>
              <a:t>Actual Annual Circuit Net Load (Residential Circui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434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isk Management: Regulating Reserve Program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99599976"/>
              </p:ext>
            </p:extLst>
          </p:nvPr>
        </p:nvGraphicFramePr>
        <p:xfrm>
          <a:off x="523875" y="4490720"/>
          <a:ext cx="9052560" cy="27113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ontent Placeholder 3"/>
          <p:cNvSpPr txBox="1">
            <a:spLocks/>
          </p:cNvSpPr>
          <p:nvPr/>
        </p:nvSpPr>
        <p:spPr>
          <a:xfrm>
            <a:off x="502920" y="1813560"/>
            <a:ext cx="9052560" cy="5129425"/>
          </a:xfrm>
          <a:prstGeom prst="rect">
            <a:avLst/>
          </a:prstGeom>
        </p:spPr>
        <p:txBody>
          <a:bodyPr vert="horz" lIns="101882" tIns="50941" rIns="101882" bIns="50941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Variation in load can be compensated with increased regulating reserve (RR) resources</a:t>
            </a:r>
          </a:p>
          <a:p>
            <a:r>
              <a:rPr lang="en-US" sz="1600" dirty="0" smtClean="0"/>
              <a:t>Demand Response can provide RR </a:t>
            </a:r>
          </a:p>
          <a:p>
            <a:pPr lvl="1"/>
            <a:r>
              <a:rPr lang="en-US" sz="1600" dirty="0" smtClean="0"/>
              <a:t>GIWH can react to 2 sec AGC data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760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670560" y="4490720"/>
            <a:ext cx="4190997" cy="267716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1882" tIns="50941" rIns="101882" bIns="50941" rtlCol="0" anchor="t" anchorCtr="0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Regulating Reserve  Grid Service</a:t>
            </a:r>
            <a:endParaRPr lang="en-US" dirty="0">
              <a:solidFill>
                <a:prstClr val="black"/>
              </a:solidFill>
            </a:endParaRPr>
          </a:p>
          <a:p>
            <a:pPr algn="ctr"/>
            <a:endParaRPr lang="en-US" dirty="0" smtClean="0">
              <a:solidFill>
                <a:prstClr val="black"/>
              </a:solidFill>
            </a:endParaRPr>
          </a:p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922020" y="5483860"/>
            <a:ext cx="3771900" cy="159766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r>
              <a:rPr lang="en-US" sz="1400" dirty="0"/>
              <a:t>Regulating Reserves are maintained to respond to supply/demand imbalances over much shorter time frames, typically on the order of one to several seconds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280657" y="4490720"/>
            <a:ext cx="4190997" cy="267716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1882" tIns="50941" rIns="101882" bIns="50941" rtlCol="0" anchor="t" anchorCtr="0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Replacement </a:t>
            </a:r>
            <a:r>
              <a:rPr lang="en-US" b="1" dirty="0">
                <a:solidFill>
                  <a:prstClr val="black"/>
                </a:solidFill>
              </a:rPr>
              <a:t>Reserve Grid </a:t>
            </a:r>
            <a:r>
              <a:rPr lang="en-US" b="1" dirty="0" smtClean="0">
                <a:solidFill>
                  <a:prstClr val="black"/>
                </a:solidFill>
              </a:rPr>
              <a:t>Service</a:t>
            </a:r>
            <a:endParaRPr lang="en-US" dirty="0">
              <a:solidFill>
                <a:prstClr val="black"/>
              </a:solidFill>
            </a:endParaRPr>
          </a:p>
          <a:p>
            <a:pPr algn="ctr"/>
            <a:endParaRPr lang="en-US" dirty="0" smtClean="0">
              <a:solidFill>
                <a:prstClr val="black"/>
              </a:solidFill>
            </a:endParaRPr>
          </a:p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532118" y="5454087"/>
            <a:ext cx="3771900" cy="1627433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r>
              <a:rPr lang="en-US" sz="1400" dirty="0"/>
              <a:t>Replacement reserves replace the output of faster responding reserves (or restoration of shed loads) enabling their redeployment; meet sustained ramps and forecast errors beyond Regulating Reserve duration.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712471" y="1468120"/>
            <a:ext cx="4190997" cy="267716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1882" tIns="50941" rIns="101882" bIns="50941" rtlCol="0" anchor="t" anchorCtr="0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Capacity </a:t>
            </a:r>
            <a:r>
              <a:rPr lang="en-US" b="1" dirty="0">
                <a:solidFill>
                  <a:prstClr val="black"/>
                </a:solidFill>
              </a:rPr>
              <a:t>Grid </a:t>
            </a:r>
            <a:r>
              <a:rPr lang="en-US" b="1" dirty="0" smtClean="0">
                <a:solidFill>
                  <a:prstClr val="black"/>
                </a:solidFill>
              </a:rPr>
              <a:t>Service</a:t>
            </a:r>
            <a:endParaRPr lang="en-US" dirty="0">
              <a:solidFill>
                <a:prstClr val="black"/>
              </a:solidFill>
            </a:endParaRPr>
          </a:p>
          <a:p>
            <a:pPr algn="ctr"/>
            <a:endParaRPr lang="en-US" dirty="0" smtClean="0">
              <a:solidFill>
                <a:prstClr val="black"/>
              </a:solidFill>
            </a:endParaRPr>
          </a:p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922019" y="2461260"/>
            <a:ext cx="3771900" cy="159766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r>
              <a:rPr lang="en-US" sz="1400" dirty="0"/>
              <a:t>Capacity: for dispatchable resources -the rating of the unit; for variable resources- the capacity that can be assured in the next 4 hours; for controlled load- the minimum of load under control during the 24-hour day.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5280658" y="1468120"/>
            <a:ext cx="4190997" cy="267716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1882" tIns="50941" rIns="101882" bIns="50941" rtlCol="0" anchor="t" anchorCtr="0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Fast </a:t>
            </a:r>
            <a:r>
              <a:rPr lang="en-US" b="1" dirty="0">
                <a:solidFill>
                  <a:prstClr val="black"/>
                </a:solidFill>
              </a:rPr>
              <a:t>Frequency </a:t>
            </a:r>
            <a:r>
              <a:rPr lang="en-US" b="1" dirty="0" smtClean="0">
                <a:solidFill>
                  <a:prstClr val="black"/>
                </a:solidFill>
              </a:rPr>
              <a:t>Response</a:t>
            </a:r>
            <a:endParaRPr lang="en-US" dirty="0">
              <a:solidFill>
                <a:prstClr val="black"/>
              </a:solidFill>
            </a:endParaRPr>
          </a:p>
          <a:p>
            <a:pPr algn="ctr"/>
            <a:endParaRPr lang="en-US" dirty="0" smtClean="0">
              <a:solidFill>
                <a:prstClr val="black"/>
              </a:solidFill>
            </a:endParaRPr>
          </a:p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532118" y="2461260"/>
            <a:ext cx="3771900" cy="159766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marL="0" lvl="1"/>
            <a:r>
              <a:rPr lang="en-US" sz="1400" dirty="0"/>
              <a:t>Fast Frequency Response is needed to reduce the rate of change of frequency (RoCoF) to help stabilize system frequency immediately following a sudden loss of generation or load, proportional to the loss.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68441" y="415805"/>
            <a:ext cx="8351520" cy="949960"/>
          </a:xfrm>
          <a:prstGeom prst="rect">
            <a:avLst/>
          </a:prstGeom>
        </p:spPr>
        <p:txBody>
          <a:bodyPr anchor="ctr" anchorCtr="0"/>
          <a:lstStyle>
            <a:lvl1pPr algn="l" defTabSz="101882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uilding the Market: Grid Service </a:t>
            </a:r>
            <a:r>
              <a:rPr lang="en-US" dirty="0" smtClean="0"/>
              <a:t>Tariff Orientation</a:t>
            </a:r>
            <a:endParaRPr lang="en-US" dirty="0">
              <a:solidFill>
                <a:srgbClr val="0153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08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Building the Market: </a:t>
            </a:r>
            <a:r>
              <a:rPr lang="en-US" sz="2400" dirty="0" smtClean="0"/>
              <a:t>Demonstration Phase</a:t>
            </a:r>
            <a:endParaRPr lang="en-US" sz="24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185068"/>
              </p:ext>
            </p:extLst>
          </p:nvPr>
        </p:nvGraphicFramePr>
        <p:xfrm>
          <a:off x="860080" y="1573315"/>
          <a:ext cx="8735306" cy="4389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22646"/>
                <a:gridCol w="6912660"/>
              </a:tblGrid>
              <a:tr h="190500"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Regulating</a:t>
                      </a:r>
                      <a:r>
                        <a:rPr lang="en-US" sz="1800" baseline="0" dirty="0" smtClean="0">
                          <a:effectLst/>
                        </a:rPr>
                        <a:t> Reserves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 customers providing 730 kW</a:t>
                      </a:r>
                      <a:endParaRPr lang="en-US" sz="16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A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95 customers</a:t>
                      </a:r>
                      <a:r>
                        <a:rPr lang="en-US" sz="1800" dirty="0">
                          <a:effectLst/>
                        </a:rPr>
                        <a:t>, </a:t>
                      </a:r>
                      <a:r>
                        <a:rPr lang="en-US" sz="1800" dirty="0" smtClean="0">
                          <a:effectLst/>
                        </a:rPr>
                        <a:t>mix of commercial </a:t>
                      </a:r>
                      <a:r>
                        <a:rPr lang="en-US" sz="1800" dirty="0">
                          <a:effectLst/>
                        </a:rPr>
                        <a:t>and </a:t>
                      </a:r>
                      <a:r>
                        <a:rPr lang="en-US" sz="1800" dirty="0" smtClean="0">
                          <a:effectLst/>
                        </a:rPr>
                        <a:t>residential (Oahu and Maui)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B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 residential </a:t>
                      </a:r>
                      <a:r>
                        <a:rPr lang="en-US" sz="1800" dirty="0" smtClean="0">
                          <a:effectLst/>
                        </a:rPr>
                        <a:t>PV + </a:t>
                      </a:r>
                      <a:r>
                        <a:rPr lang="en-US" sz="1800" b="1" dirty="0" smtClean="0">
                          <a:effectLst/>
                        </a:rPr>
                        <a:t>Storage</a:t>
                      </a:r>
                      <a:endParaRPr lang="en-US" sz="1800" b="1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C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1 </a:t>
                      </a:r>
                      <a:r>
                        <a:rPr lang="en-US" sz="1800" dirty="0">
                          <a:effectLst/>
                        </a:rPr>
                        <a:t>C&amp;I customer with </a:t>
                      </a:r>
                      <a:r>
                        <a:rPr lang="en-US" sz="1800" b="1" dirty="0" smtClean="0">
                          <a:effectLst/>
                        </a:rPr>
                        <a:t>storage</a:t>
                      </a:r>
                      <a:r>
                        <a:rPr lang="en-US" sz="1800" dirty="0" smtClean="0">
                          <a:effectLst/>
                        </a:rPr>
                        <a:t>, enabling </a:t>
                      </a:r>
                      <a:r>
                        <a:rPr lang="en-US" sz="1800" dirty="0">
                          <a:effectLst/>
                        </a:rPr>
                        <a:t>devices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D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 </a:t>
                      </a:r>
                      <a:r>
                        <a:rPr lang="en-US" sz="1800" dirty="0" smtClean="0">
                          <a:effectLst/>
                        </a:rPr>
                        <a:t>energy </a:t>
                      </a:r>
                      <a:r>
                        <a:rPr lang="en-US" sz="1800" b="1" dirty="0" smtClean="0">
                          <a:effectLst/>
                        </a:rPr>
                        <a:t>storage</a:t>
                      </a:r>
                      <a:r>
                        <a:rPr lang="en-US" sz="1800" baseline="0" dirty="0" smtClean="0">
                          <a:effectLst/>
                        </a:rPr>
                        <a:t> for large C&amp;I customer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Fast</a:t>
                      </a:r>
                      <a:r>
                        <a:rPr lang="en-US" sz="1800" baseline="0" dirty="0" smtClean="0">
                          <a:effectLst/>
                        </a:rPr>
                        <a:t> Frequency Reserves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customers providing 135 kW</a:t>
                      </a:r>
                      <a:endParaRPr lang="en-US" sz="16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B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2 residential PV + </a:t>
                      </a:r>
                      <a:r>
                        <a:rPr lang="en-US" sz="1800" b="1" dirty="0" smtClean="0">
                          <a:effectLst/>
                        </a:rPr>
                        <a:t>Storage</a:t>
                      </a:r>
                      <a:endParaRPr lang="en-US" sz="1800" b="1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C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</a:rPr>
                        <a:t>1 C&amp;I customer with </a:t>
                      </a:r>
                      <a:r>
                        <a:rPr lang="en-US" sz="1800" b="1" dirty="0" smtClean="0">
                          <a:effectLst/>
                        </a:rPr>
                        <a:t>storage</a:t>
                      </a:r>
                      <a:r>
                        <a:rPr lang="en-US" sz="1800" dirty="0" smtClean="0">
                          <a:effectLst/>
                        </a:rPr>
                        <a:t>, enabling devices</a:t>
                      </a:r>
                      <a:endParaRPr lang="en-US" sz="1800" dirty="0" smtClean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Capacity (Load Shifting)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 customers providing 101.5 kW</a:t>
                      </a:r>
                      <a:endParaRPr lang="en-US" sz="16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B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0 residential </a:t>
                      </a:r>
                      <a:r>
                        <a:rPr lang="en-US" sz="1800" dirty="0" smtClean="0">
                          <a:effectLst/>
                        </a:rPr>
                        <a:t>PV + </a:t>
                      </a:r>
                      <a:r>
                        <a:rPr lang="en-US" sz="1800" b="1" dirty="0" smtClean="0">
                          <a:effectLst/>
                        </a:rPr>
                        <a:t>Storage</a:t>
                      </a:r>
                      <a:endParaRPr lang="en-US" sz="1800" b="1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C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</a:rPr>
                        <a:t>1 C&amp;I customer with </a:t>
                      </a:r>
                      <a:r>
                        <a:rPr lang="en-US" sz="1800" b="1" dirty="0" smtClean="0">
                          <a:effectLst/>
                        </a:rPr>
                        <a:t>storage</a:t>
                      </a:r>
                      <a:r>
                        <a:rPr lang="en-US" sz="1800" dirty="0" smtClean="0">
                          <a:effectLst/>
                        </a:rPr>
                        <a:t>, enabling devices</a:t>
                      </a:r>
                      <a:endParaRPr lang="en-US" sz="1800" dirty="0" smtClean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E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0 </a:t>
                      </a:r>
                      <a:r>
                        <a:rPr lang="en-US" sz="1800" dirty="0" smtClean="0">
                          <a:effectLst/>
                        </a:rPr>
                        <a:t>customer self supply customers (</a:t>
                      </a:r>
                      <a:r>
                        <a:rPr lang="en-US" sz="1800" b="1" dirty="0" smtClean="0">
                          <a:effectLst/>
                        </a:rPr>
                        <a:t>PV + Storage</a:t>
                      </a:r>
                      <a:r>
                        <a:rPr lang="en-US" sz="1800" dirty="0" smtClean="0">
                          <a:effectLst/>
                        </a:rPr>
                        <a:t>)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Team F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5 small business customers with thermostat</a:t>
                      </a:r>
                      <a:endParaRPr lang="en-US" sz="18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51442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20720021"/>
              </p:ext>
            </p:extLst>
          </p:nvPr>
        </p:nvGraphicFramePr>
        <p:xfrm>
          <a:off x="503238" y="1812925"/>
          <a:ext cx="9051925" cy="4837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34850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B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Hawaiian Electric">
      <a:dk1>
        <a:srgbClr val="000000"/>
      </a:dk1>
      <a:lt1>
        <a:srgbClr val="FFFFFF"/>
      </a:lt1>
      <a:dk2>
        <a:srgbClr val="38273C"/>
      </a:dk2>
      <a:lt2>
        <a:srgbClr val="808080"/>
      </a:lt2>
      <a:accent1>
        <a:srgbClr val="412855"/>
      </a:accent1>
      <a:accent2>
        <a:srgbClr val="653F85"/>
      </a:accent2>
      <a:accent3>
        <a:srgbClr val="9E77BF"/>
      </a:accent3>
      <a:accent4>
        <a:srgbClr val="9C8E7C"/>
      </a:accent4>
      <a:accent5>
        <a:srgbClr val="B9B0A3"/>
      </a:accent5>
      <a:accent6>
        <a:srgbClr val="DEDAD4"/>
      </a:accent6>
      <a:hlink>
        <a:srgbClr val="FFFFFF"/>
      </a:hlink>
      <a:folHlink>
        <a:srgbClr val="E2E2E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folHlink"/>
        </a:solidFill>
        <a:ln w="9525">
          <a:solidFill>
            <a:schemeClr val="folHlink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453</TotalTime>
  <Words>588</Words>
  <Application>Microsoft Office PowerPoint</Application>
  <PresentationFormat>Custom</PresentationFormat>
  <Paragraphs>110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blank</vt:lpstr>
      <vt:lpstr>think-cell Slide</vt:lpstr>
      <vt:lpstr>Hawaii’s DER Management Initiative Opportunities for Customer-sited Grid Services Delivery</vt:lpstr>
      <vt:lpstr>Renewable Energy Challenges: System Stability</vt:lpstr>
      <vt:lpstr>Risk: Minimum Loads</vt:lpstr>
      <vt:lpstr>Risk Management: Load Shifting</vt:lpstr>
      <vt:lpstr>Risk: Increased Variation on Circuit</vt:lpstr>
      <vt:lpstr>Risk Management: Regulating Reserve Program</vt:lpstr>
      <vt:lpstr>PowerPoint Presentation</vt:lpstr>
      <vt:lpstr>Building the Market: Demonstration Phase</vt:lpstr>
      <vt:lpstr>Timeline</vt:lpstr>
      <vt:lpstr>Building the Market: Aggregators</vt:lpstr>
      <vt:lpstr>Building the Market: Self-aggregators</vt:lpstr>
      <vt:lpstr>Building the Market: Stakeholder Engagement</vt:lpstr>
      <vt:lpstr>Hurdles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in Title Case (Arial Bold 30pt, Dark Gray)</dc:title>
  <dc:creator>Bjork Samuel</dc:creator>
  <cp:lastModifiedBy>Stacey Hobart</cp:lastModifiedBy>
  <cp:revision>745</cp:revision>
  <cp:lastPrinted>2015-08-28T01:24:44Z</cp:lastPrinted>
  <dcterms:created xsi:type="dcterms:W3CDTF">2014-12-16T22:31:27Z</dcterms:created>
  <dcterms:modified xsi:type="dcterms:W3CDTF">2017-05-11T16:5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Hawaiian Electric</vt:lpwstr>
  </property>
  <property fmtid="{D5CDD505-2E9C-101B-9397-08002B2CF9AE}" pid="4" name="Template Name">
    <vt:lpwstr>Custom</vt:lpwstr>
  </property>
  <property fmtid="{D5CDD505-2E9C-101B-9397-08002B2CF9AE}" pid="5" name="_NewReviewCycle">
    <vt:lpwstr/>
  </property>
</Properties>
</file>